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0.xml" ContentType="application/vnd.openxmlformats-officedocument.theme+xml"/>
  <Override PartName="/ppt/slideLayouts/slideLayout70.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2.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95" r:id="rId4"/>
    <p:sldMasterId id="2147484201" r:id="rId5"/>
    <p:sldMasterId id="2147484203" r:id="rId6"/>
    <p:sldMasterId id="2147484209" r:id="rId7"/>
    <p:sldMasterId id="2147484229" r:id="rId8"/>
    <p:sldMasterId id="2147484246" r:id="rId9"/>
    <p:sldMasterId id="2147484249" r:id="rId10"/>
    <p:sldMasterId id="2147484149" r:id="rId11"/>
    <p:sldMasterId id="2147484377" r:id="rId12"/>
    <p:sldMasterId id="2147484383" r:id="rId13"/>
    <p:sldMasterId id="2147483695" r:id="rId14"/>
    <p:sldMasterId id="2147484301" r:id="rId15"/>
    <p:sldMasterId id="2147484396" r:id="rId16"/>
    <p:sldMasterId id="2147484393" r:id="rId17"/>
    <p:sldMasterId id="2147484401" r:id="rId18"/>
    <p:sldMasterId id="2147484433" r:id="rId19"/>
  </p:sldMasterIdLst>
  <p:notesMasterIdLst>
    <p:notesMasterId r:id="rId40"/>
  </p:notesMasterIdLst>
  <p:sldIdLst>
    <p:sldId id="7214" r:id="rId20"/>
    <p:sldId id="2145706078" r:id="rId21"/>
    <p:sldId id="2145706018" r:id="rId22"/>
    <p:sldId id="2145706016" r:id="rId23"/>
    <p:sldId id="2145706021" r:id="rId24"/>
    <p:sldId id="2145706075" r:id="rId25"/>
    <p:sldId id="2145705968" r:id="rId26"/>
    <p:sldId id="7234" r:id="rId27"/>
    <p:sldId id="2145705966" r:id="rId28"/>
    <p:sldId id="7358" r:id="rId29"/>
    <p:sldId id="7330" r:id="rId30"/>
    <p:sldId id="7292" r:id="rId31"/>
    <p:sldId id="6746" r:id="rId32"/>
    <p:sldId id="7355" r:id="rId33"/>
    <p:sldId id="7343" r:id="rId34"/>
    <p:sldId id="2145706062" r:id="rId35"/>
    <p:sldId id="2145706066" r:id="rId36"/>
    <p:sldId id="2145706079" r:id="rId37"/>
    <p:sldId id="2145706080" r:id="rId38"/>
    <p:sldId id="7191"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9CA89A16-5896-4ACB-94C6-8B9E5FCDBA9A}">
          <p14:sldIdLst>
            <p14:sldId id="7214"/>
            <p14:sldId id="2145706078"/>
            <p14:sldId id="2145706018"/>
            <p14:sldId id="2145706016"/>
            <p14:sldId id="2145706021"/>
            <p14:sldId id="2145706075"/>
            <p14:sldId id="2145705968"/>
            <p14:sldId id="7234"/>
            <p14:sldId id="2145705966"/>
          </p14:sldIdLst>
        </p14:section>
        <p14:section name="Main" id="{7059C3AF-B417-4E4E-ACF7-8913A9DD98E9}">
          <p14:sldIdLst>
            <p14:sldId id="7358"/>
            <p14:sldId id="7330"/>
            <p14:sldId id="7292"/>
            <p14:sldId id="6746"/>
          </p14:sldIdLst>
        </p14:section>
        <p14:section name="Recycle Check" id="{3F05727E-6B9F-4D49-BE51-9AAB8A6C88D9}">
          <p14:sldIdLst>
            <p14:sldId id="7355"/>
          </p14:sldIdLst>
        </p14:section>
        <p14:section name="RPS Hub" id="{75C09CBE-3AFC-45D6-94CF-002A07D207BC}">
          <p14:sldIdLst>
            <p14:sldId id="7343"/>
            <p14:sldId id="2145706062"/>
            <p14:sldId id="2145706066"/>
            <p14:sldId id="2145706079"/>
            <p14:sldId id="2145706080"/>
          </p14:sldIdLst>
        </p14:section>
        <p14:section name="Closing" id="{7C127883-E225-4CCB-AA9F-44B4840D9ABA}">
          <p14:sldIdLst>
            <p14:sldId id="7191"/>
          </p14:sldIdLst>
        </p14:section>
        <p14:section name="Appendix" id="{8D5E3AEF-6B9C-4E10-9B48-D8D2D7F8DE4C}">
          <p14:sldIdLst/>
        </p14:section>
        <p14:section name="Reference" id="{D89A8367-0DA2-40AB-B5BF-44AE2F4360A0}">
          <p14:sldIdLst/>
        </p14:section>
        <p14:section name="Calendars" id="{22B23B8A-C463-4119-820C-6EBC0B369B1E}">
          <p14:sldIdLst/>
        </p14:section>
      </p14:sectionLst>
    </p:ext>
    <p:ext uri="{EFAFB233-063F-42B5-8137-9DF3F51BA10A}">
      <p15:sldGuideLst xmlns:p15="http://schemas.microsoft.com/office/powerpoint/2012/main">
        <p15:guide id="1" pos="2424" userDrawn="1">
          <p15:clr>
            <a:srgbClr val="A4A3A4"/>
          </p15:clr>
        </p15:guide>
        <p15:guide id="2" pos="288"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6ADC09-C288-DC2D-22E6-198325723D41}" name="Andy Payne" initials="AP" userId="S::apayne@recyclingpartnership.org::282fd301-6948-4604-9a32-6a0240b30a1b" providerId="AD"/>
  <p188:author id="{B9EADB0B-0814-F000-4AC4-6A8925975814}" name="DeNeile Cooper" initials="DC" userId="zgALDfXWIy+iLa9bHGJvYfKvrXH14P96S1Xobu/OlJs=" providerId="None"/>
  <p188:author id="{ADD3FF17-CA55-FBCA-4811-08ED3334AE9B}" name="Keefe Harrison" initials="KH" userId="S::kharrison@recyclingpartnership.org::0bccf639-9f05-4891-86e9-e249b47bf805" providerId="AD"/>
  <p188:author id="{DE19C01B-AD1C-4459-8CC3-CC6869D582E6}" name="Elizabeth Schussler" initials="ES" userId="S::eschussler@recyclingpartnership.org::4df912df-372d-4ac7-b37a-f977b42a7a23" providerId="AD"/>
  <p188:author id="{C3B6E825-17CD-65AB-7E06-8BEA5AF33969}" name="Rob Taylor" initials="RT" userId="S::rtaylor@recyclingpartnership.org::50621e2d-0b0c-48a7-8484-0853a7646f19" providerId="AD"/>
  <p188:author id="{82832E34-D109-1AC9-9094-94B6B0FE41B7}" name="Aaron Burman" initials="AB" userId="S::aburman@recyclingpartnership.org::c4ebb991-8b0a-4505-b8ff-6f70e04e20ff" providerId="AD"/>
  <p188:author id="{1C5D4A43-A0C5-D3DC-14E1-A1909FDC962A}" name="Elesia Glover" initials="EG" userId="S::eglover@recyclingpartnership.org::e987b356-faef-40cf-8868-5ab7c949e591" providerId="AD"/>
  <p188:author id="{461E5C46-61A0-8EEC-41D8-948BB3D74E19}" name="DeNeile Cooper" initials="DC" userId="S::dcooper@recyclingpartnership.org::6ec4d1f2-b150-4510-9e7e-16c546a36806" providerId="AD"/>
  <p188:author id="{8F9C654F-202D-ED10-8F65-C29FFF1C43EF}" name="Amanda Kelley" initials="AK" userId="S::akelley@recyclingpartnership.org::d162f2a2-113b-443f-b0c2-696a6368ab6e" providerId="AD"/>
  <p188:author id="{CDEBF356-DAE8-FBAF-2EB7-A525307E238F}" name="Keysha Burton" initials="KB" userId="S::kburton@recyclingpartnership.org::3c3893b4-0542-430e-85c5-62f8ddf4c159" providerId="AD"/>
  <p188:author id="{50B75B60-C7D8-56CF-5C81-913AD109C7F0}" name="Allison Buchanan" initials="AB" userId="Allison Buchanan" providerId="None"/>
  <p188:author id="{0C474479-4C20-C790-2F7E-ED44EDDF25B3}" name="Kevin Goolsby" initials="KG" userId="S::kgoolsby@recyclingpartnership.org::1ce53dab-6b6b-415e-8824-db50d99b65ce" providerId="AD"/>
  <p188:author id="{12610C7E-3A69-9A47-CF26-95FAD2DC0481}" name="Rachel Kipar" initials="RK" userId="S::rkipar@recyclingpartnership.org::11f182f7-cd00-4678-89b3-cb70283d6765" providerId="AD"/>
  <p188:author id="{27B84581-E019-4654-FC33-BD26F2A4D8CC}" name="Allison Buchanan" initials="AB" userId="S::abuchanan@recyclingpartnership.org::a473a17a-4d85-4cab-8286-f17fc3b5c3eb" providerId="AD"/>
  <p188:author id="{AC7C3690-6B7D-3A90-A2D6-DA9756D0A882}" name="Adam Gendell" initials="AG" userId="S::agendell@recyclingpartnership.org::1e46a7c5-9a61-49f2-93bd-5483d398fa0f" providerId="AD"/>
  <p188:author id="{8AF17593-5AFE-5545-A473-BF02FA6ECE7A}" name="Louise  Bruce" initials="LB" userId="S::lbruce@recyclingpartnership.org::2852d2b6-e004-4e57-83e8-bde31060f60e" providerId="AD"/>
  <p188:author id="{9122F899-246C-7BE1-F595-B341C9D657C4}" name="Andy Payne" initials="AP" userId="10e1f46be8bb1a89" providerId="Windows Live"/>
  <p188:author id="{D6C9CCA2-88F7-19A0-F7DE-9D946534378E}" name="Elise Vogler" initials="EV" userId="S::evogler@recyclingpartnership.org::9bc291fc-7fce-4bc3-a419-456f4d79c97f" providerId="AD"/>
  <p188:author id="{D61694A9-6278-1A0D-4B99-31946F5FFD71}" name="Lea Hensel" initials="LH" userId="S::lhensel@recyclingpartnership.org::5a18fd2f-59df-43d6-8979-d9fc292846a6" providerId="AD"/>
  <p188:author id="{6FACE6BA-75E2-5F0F-EBF1-05D82023440E}" name="Katherine Huded" initials="KH" userId="S::khuded@recyclingpartnership.org::87950afd-7785-46a1-87c4-5d3151e1a724" providerId="AD"/>
  <p188:author id="{F0B163BF-1817-DDDD-3D6B-2B8FE89B2636}" name="Elise Vogler" initials="EV" userId="Elise Vogler" providerId="None"/>
  <p188:author id="{7B73B7C7-2ADB-5647-116D-538B5A828C1D}" name="Cecilia Shutters" initials="CS" userId="S::cshutters@recyclingpartnership.org::a5dace16-16cd-402e-b22f-cd3e511b8294" providerId="AD"/>
  <p188:author id="{FE2040CF-2AB7-99B5-6EFF-BD9A4E7E558A}" name="Allison Deatherage Francis" initials="AF" userId="S::afrancis@recyclingpartnership.org::1a40818b-5fef-415e-ad26-c8b6f5a8d428" providerId="AD"/>
  <p188:author id="{75A40ED2-E9FC-99C5-C370-7C6C87B1685D}" name="Kendall Glauber" initials="KG" userId="S::kglauber@recyclingpartnership.org::e15c0a49-c444-447a-9a92-2a87263f237f" providerId="AD"/>
  <p188:author id="{24BFA0D4-EFE5-8A98-32D2-5501585552B7}" name="Beth Schmitt" initials="BS" userId="S::bschmitt@recyclingpartnership.org::0b992dfe-d616-4f0d-b077-6a996319b510" providerId="AD"/>
  <p188:author id="{7E90E3DA-216E-8DC3-18C9-FC6F2C05611F}" name="Stephanie Kersten-Johnston" initials="SK" userId="S::skerstenjohnston@recyclingpartnership.org::aa0cb32f-f16e-4259-b7cd-cbbbd53639db" providerId="AD"/>
  <p188:author id="{05ABA7E2-172B-6ED8-0447-A35833046056}" name="Mary Suozzi" initials="MS" userId="S::msuozzi@recyclingpartnership.org::471bd164-3b1c-4d1f-97b7-5a4416518560" providerId="AD"/>
  <p188:author id="{5D7F33ED-6843-7781-670A-27B0FAEFB789}" name="Marjory Appel" initials="MA" userId="S::mappel@recyclingpartnership.org::799afbbe-b795-4d46-85b2-87c6d92419c5" providerId="AD"/>
  <p188:author id="{5CCA5AF2-48EE-88D5-83E8-CD28FA9B94AB}" name="Ali Donahue" initials="AD" userId="51a7ce72b2a6b1fd"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dy Marshall" initials="CM" lastIdx="2" clrIdx="0">
    <p:extLst>
      <p:ext uri="{19B8F6BF-5375-455C-9EA6-DF929625EA0E}">
        <p15:presenceInfo xmlns:p15="http://schemas.microsoft.com/office/powerpoint/2012/main" userId="S::cmarshall@recyclingpartnership.org::01ff7df5-b247-4739-bca4-61d9d16a7801" providerId="AD"/>
      </p:ext>
    </p:extLst>
  </p:cmAuthor>
  <p:cmAuthor id="2" name="Trina Matta" initials="TM" lastIdx="3" clrIdx="1">
    <p:extLst>
      <p:ext uri="{19B8F6BF-5375-455C-9EA6-DF929625EA0E}">
        <p15:presenceInfo xmlns:p15="http://schemas.microsoft.com/office/powerpoint/2012/main" userId="S::tmatta@recyclingpartnership.org::90731d9d-78d7-45fa-b1b5-dd93ceb760e4" providerId="AD"/>
      </p:ext>
    </p:extLst>
  </p:cmAuthor>
  <p:cmAuthor id="3" name="Allison Buchanan" initials="AB" lastIdx="2" clrIdx="2">
    <p:extLst>
      <p:ext uri="{19B8F6BF-5375-455C-9EA6-DF929625EA0E}">
        <p15:presenceInfo xmlns:p15="http://schemas.microsoft.com/office/powerpoint/2012/main" userId="Allison Buchanan" providerId="None"/>
      </p:ext>
    </p:extLst>
  </p:cmAuthor>
  <p:cmAuthor id="4" name="Elizabeth Schussler" initials="ES" lastIdx="1" clrIdx="3">
    <p:extLst>
      <p:ext uri="{19B8F6BF-5375-455C-9EA6-DF929625EA0E}">
        <p15:presenceInfo xmlns:p15="http://schemas.microsoft.com/office/powerpoint/2012/main" userId="S::eschussler@recyclingpartnership.org::4df912df-372d-4ac7-b37a-f977b42a7a23" providerId="AD"/>
      </p:ext>
    </p:extLst>
  </p:cmAuthor>
  <p:cmAuthor id="5" name="Karen Bandhauer" initials="KB" lastIdx="5" clrIdx="4">
    <p:extLst>
      <p:ext uri="{19B8F6BF-5375-455C-9EA6-DF929625EA0E}">
        <p15:presenceInfo xmlns:p15="http://schemas.microsoft.com/office/powerpoint/2012/main" userId="Karen Bandhauer" providerId="None"/>
      </p:ext>
    </p:extLst>
  </p:cmAuthor>
  <p:cmAuthor id="6" name="Andy Payne" initials="AP" lastIdx="1" clrIdx="5">
    <p:extLst>
      <p:ext uri="{19B8F6BF-5375-455C-9EA6-DF929625EA0E}">
        <p15:presenceInfo xmlns:p15="http://schemas.microsoft.com/office/powerpoint/2012/main" userId="10e1f46be8bb1a8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BBB"/>
    <a:srgbClr val="244C5A"/>
    <a:srgbClr val="00A887"/>
    <a:srgbClr val="FFFFFF"/>
    <a:srgbClr val="4669AF"/>
    <a:srgbClr val="006372"/>
    <a:srgbClr val="A2AF39"/>
    <a:srgbClr val="09CD9E"/>
    <a:srgbClr val="999999"/>
    <a:srgbClr val="00A5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1F6A4E-CD3D-4FE8-8750-77239E113B34}" v="81" dt="2023-10-22T17:17:48.962"/>
  </p1510:revLst>
</p1510:revInfo>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01" autoAdjust="0"/>
    <p:restoredTop sz="95883" autoAdjust="0"/>
  </p:normalViewPr>
  <p:slideViewPr>
    <p:cSldViewPr snapToGrid="0">
      <p:cViewPr varScale="1">
        <p:scale>
          <a:sx n="78" d="100"/>
          <a:sy n="78" d="100"/>
        </p:scale>
        <p:origin x="658" y="72"/>
      </p:cViewPr>
      <p:guideLst>
        <p:guide pos="2424"/>
        <p:guide pos="288"/>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microsoft.com/office/2015/10/relationships/revisionInfo" Target="revisionInfo.xml"/><Relationship Id="rId20" Type="http://schemas.openxmlformats.org/officeDocument/2006/relationships/slide" Target="slides/slide1.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Source Sans Pro" panose="020B0503030403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Source Sans Pro" panose="020B0503030403020204" pitchFamily="34" charset="0"/>
              </a:defRPr>
            </a:lvl1pPr>
          </a:lstStyle>
          <a:p>
            <a:fld id="{18F74CF4-F4C8-1E4D-87E1-2E981E8CE0DC}" type="datetimeFigureOut">
              <a:rPr lang="en-US" smtClean="0"/>
              <a:pPr/>
              <a:t>10/2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Source Sans Pro" panose="020B0503030403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Source Sans Pro" panose="020B0503030403020204" pitchFamily="34" charset="0"/>
              </a:defRPr>
            </a:lvl1pPr>
          </a:lstStyle>
          <a:p>
            <a:fld id="{4C17EB8A-ADB1-4B41-ABAA-23F2EE01A419}" type="slidenum">
              <a:rPr lang="en-US" smtClean="0"/>
              <a:pPr/>
              <a:t>‹#›</a:t>
            </a:fld>
            <a:endParaRPr lang="en-US" dirty="0"/>
          </a:p>
        </p:txBody>
      </p:sp>
    </p:spTree>
    <p:extLst>
      <p:ext uri="{BB962C8B-B14F-4D97-AF65-F5344CB8AC3E}">
        <p14:creationId xmlns:p14="http://schemas.microsoft.com/office/powerpoint/2010/main" val="555316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ource Sans Pro" panose="020B0503030403020204" pitchFamily="34" charset="0"/>
        <a:ea typeface="+mn-ea"/>
        <a:cs typeface="+mn-cs"/>
      </a:defRPr>
    </a:lvl1pPr>
    <a:lvl2pPr marL="457200" algn="l" defTabSz="914400" rtl="0" eaLnBrk="1" latinLnBrk="0" hangingPunct="1">
      <a:defRPr sz="1200" kern="1200">
        <a:solidFill>
          <a:schemeClr val="tx1"/>
        </a:solidFill>
        <a:latin typeface="Source Sans Pro" panose="020B0503030403020204" pitchFamily="34" charset="0"/>
        <a:ea typeface="+mn-ea"/>
        <a:cs typeface="+mn-cs"/>
      </a:defRPr>
    </a:lvl2pPr>
    <a:lvl3pPr marL="914400" algn="l" defTabSz="914400" rtl="0" eaLnBrk="1" latinLnBrk="0" hangingPunct="1">
      <a:defRPr sz="1200" kern="1200">
        <a:solidFill>
          <a:schemeClr val="tx1"/>
        </a:solidFill>
        <a:latin typeface="Source Sans Pro" panose="020B0503030403020204" pitchFamily="34" charset="0"/>
        <a:ea typeface="+mn-ea"/>
        <a:cs typeface="+mn-cs"/>
      </a:defRPr>
    </a:lvl3pPr>
    <a:lvl4pPr marL="1371600" algn="l" defTabSz="914400" rtl="0" eaLnBrk="1" latinLnBrk="0" hangingPunct="1">
      <a:defRPr sz="1200" kern="1200">
        <a:solidFill>
          <a:schemeClr val="tx1"/>
        </a:solidFill>
        <a:latin typeface="Source Sans Pro" panose="020B0503030403020204" pitchFamily="34" charset="0"/>
        <a:ea typeface="+mn-ea"/>
        <a:cs typeface="+mn-cs"/>
      </a:defRPr>
    </a:lvl4pPr>
    <a:lvl5pPr marL="1828800" algn="l" defTabSz="914400" rtl="0" eaLnBrk="1" latinLnBrk="0" hangingPunct="1">
      <a:defRPr sz="1200" kern="1200">
        <a:solidFill>
          <a:schemeClr val="tx1"/>
        </a:solidFill>
        <a:latin typeface="Source Sans Pro" panose="020B05030304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Good morning! Thanks to the pet Sustainability Coalition for inviting us to  participate in this important and timely webinar series.</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My name is Rachel Kipar, Director of Recyclability Solutions at The Recycling Partnership.</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oday I’d like to share 3 digital tools that will help you develop data-backed strategies to design better packaging and improve the system.</a:t>
            </a:r>
          </a:p>
          <a:p>
            <a:endParaRPr lang="en-US" sz="1400" dirty="0">
              <a:ea typeface="Source Sans Pro"/>
            </a:endParaRPr>
          </a:p>
        </p:txBody>
      </p:sp>
      <p:sp>
        <p:nvSpPr>
          <p:cNvPr id="4" name="Slide Number Placeholder 3"/>
          <p:cNvSpPr>
            <a:spLocks noGrp="1"/>
          </p:cNvSpPr>
          <p:nvPr>
            <p:ph type="sldNum" sz="quarter" idx="5"/>
          </p:nvPr>
        </p:nvSpPr>
        <p:spPr/>
        <p:txBody>
          <a:bodyPr/>
          <a:lstStyle/>
          <a:p>
            <a:fld id="{4C17EB8A-ADB1-4B41-ABAA-23F2EE01A419}" type="slidenum">
              <a:rPr lang="en-US" smtClean="0"/>
              <a:pPr/>
              <a:t>1</a:t>
            </a:fld>
            <a:endParaRPr lang="en-US" dirty="0"/>
          </a:p>
        </p:txBody>
      </p:sp>
    </p:spTree>
    <p:extLst>
      <p:ext uri="{BB962C8B-B14F-4D97-AF65-F5344CB8AC3E}">
        <p14:creationId xmlns:p14="http://schemas.microsoft.com/office/powerpoint/2010/main" val="2785026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Did you know that there are more than 9,000 recycling programs supporting over 30,000 communities in the US?</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nd you've probably noticed if you've ever tried to recycle in a location other while you're traveling, the recycling rules where you are in that moment probably aren't the same as the ones in the place where you live. This is the case for consumers all over the United States. And it's no wonder that people are confused about how to participate in their programs if the rules are changing in every jurisdiction.</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ere’s a final layer for the landscape.</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e know People support recycling, but they’re confused.</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e also know, confidence in recycling is in decline. And we need to act fast to reverse this trend.</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Less than half believe their recyclables are made into new things – so why do it?</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People are looking to more than just their local government for recycling information. 8 in 10 are looking to product labels!</a:t>
            </a:r>
          </a:p>
          <a:p>
            <a:pPr marL="0" marR="0">
              <a:lnSpc>
                <a:spcPct val="107000"/>
              </a:lnSpc>
              <a:spcBef>
                <a:spcPts val="0"/>
              </a:spcBef>
              <a:spcAft>
                <a:spcPts val="800"/>
              </a:spcAft>
            </a:pP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But we know reducing confusion increases confidence, and increased confidence leads to higher participation and MORE, BETTER recyclables going into the car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4C17EB8A-ADB1-4B41-ABAA-23F2EE01A419}" type="slidenum">
              <a:rPr lang="en-US" smtClean="0"/>
              <a:pPr/>
              <a:t>10</a:t>
            </a:fld>
            <a:endParaRPr lang="en-US" dirty="0"/>
          </a:p>
        </p:txBody>
      </p:sp>
    </p:spTree>
    <p:extLst>
      <p:ext uri="{BB962C8B-B14F-4D97-AF65-F5344CB8AC3E}">
        <p14:creationId xmlns:p14="http://schemas.microsoft.com/office/powerpoint/2010/main" val="2882545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rPr>
              <a:t>Okay, I can see folks leaning in. We’re waking up, what’s next?</a:t>
            </a:r>
          </a:p>
          <a:p>
            <a:endParaRPr lang="en-US" dirty="0">
              <a:latin typeface="Century Gothic"/>
            </a:endParaRPr>
          </a:p>
          <a:p>
            <a:r>
              <a:rPr lang="en-US" dirty="0">
                <a:latin typeface="Century Gothic"/>
              </a:rPr>
              <a:t>The last two tools are to help companies set solid strategies and design more recyclable packaging – great. A critical link in the value chain.</a:t>
            </a:r>
          </a:p>
          <a:p>
            <a:endParaRPr lang="en-US" dirty="0">
              <a:latin typeface="Century Gothic"/>
            </a:endParaRPr>
          </a:p>
          <a:p>
            <a:r>
              <a:rPr lang="en-US" dirty="0">
                <a:latin typeface="Century Gothic"/>
              </a:rPr>
              <a:t>What about Communities? I’m so glad you asked!</a:t>
            </a:r>
          </a:p>
          <a:p>
            <a:endParaRPr lang="en-US" dirty="0">
              <a:latin typeface="Century Gothic"/>
            </a:endParaRPr>
          </a:p>
          <a:p>
            <a:r>
              <a:rPr lang="en-US" dirty="0">
                <a:latin typeface="Century Gothic"/>
              </a:rPr>
              <a:t>That National Recycling Database (you’re going to see this screen grab a lot) is also the backbone of our hot-off-the-press Recycling Program Solutions Hub.</a:t>
            </a:r>
          </a:p>
          <a:p>
            <a:endParaRPr lang="en-US" dirty="0">
              <a:latin typeface="Century Gothic"/>
            </a:endParaRPr>
          </a:p>
          <a:p>
            <a:r>
              <a:rPr lang="en-US" dirty="0">
                <a:latin typeface="Century Gothic"/>
              </a:rPr>
              <a:t>The Hub no only provides resources and support to all 9,000 communities, but it opens that critical feedback loop to further verify what’s housed in the National Database is up-to-date for each communit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76642D-6D73-8C4D-9431-7670155DFB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6018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244B59"/>
                </a:solidFill>
                <a:effectLst/>
                <a:uLnTx/>
                <a:uFillTx/>
                <a:latin typeface="Source Sans Pro"/>
                <a:ea typeface="Roboto" panose="02000000000000000000" pitchFamily="2" charset="0"/>
                <a:cs typeface="Lato Light" panose="020F0502020204030203" pitchFamily="34" charset="0"/>
              </a:rPr>
              <a:t>Circular Packaging Assessment Tool </a:t>
            </a:r>
            <a:r>
              <a:rPr kumimoji="0" lang="en-US" sz="1600" i="0" u="none" strike="noStrike" kern="1200" cap="none" spc="0" normalizeH="0" baseline="0" noProof="0" dirty="0">
                <a:ln>
                  <a:noFill/>
                </a:ln>
                <a:solidFill>
                  <a:srgbClr val="244B59"/>
                </a:solidFill>
                <a:effectLst/>
                <a:uLnTx/>
                <a:uFillTx/>
                <a:latin typeface="Source Sans Pro"/>
                <a:ea typeface="Roboto" panose="02000000000000000000" pitchFamily="2" charset="0"/>
                <a:cs typeface="Lato Light" panose="020F0502020204030203" pitchFamily="34" charset="0"/>
              </a:rPr>
              <a:t>is the first</a:t>
            </a:r>
            <a:r>
              <a:rPr lang="en-US" sz="1600" dirty="0">
                <a:solidFill>
                  <a:srgbClr val="244B59"/>
                </a:solidFill>
                <a:latin typeface="Source Sans Pro"/>
                <a:ea typeface="Roboto" panose="02000000000000000000" pitchFamily="2" charset="0"/>
                <a:cs typeface="Lato Light" panose="020F0502020204030203" pitchFamily="34" charset="0"/>
              </a:rPr>
              <a:t> </a:t>
            </a:r>
            <a:r>
              <a:rPr kumimoji="0" lang="en-US" sz="1600" b="0" i="0" u="none" strike="noStrike" kern="1200" cap="none" spc="0" normalizeH="0" baseline="0" noProof="0" dirty="0">
                <a:ln>
                  <a:noFill/>
                </a:ln>
                <a:solidFill>
                  <a:srgbClr val="244B59"/>
                </a:solidFill>
                <a:effectLst/>
                <a:uLnTx/>
                <a:uFillTx/>
                <a:latin typeface="Source Sans Pro"/>
                <a:ea typeface="Roboto" panose="02000000000000000000" pitchFamily="2" charset="0"/>
                <a:cs typeface="Lato Light" panose="020F0502020204030203" pitchFamily="34" charset="0"/>
              </a:rPr>
              <a:t>free, public tool for assessing packaging recyclability on a U.S. system level</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Users can take new or existing package(s) through the building block requirements and, based on the information provided, along with information already known about the package(s), determine recyclability. </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If the requirements are not met, the Guide suggests actions such as package re-design, or participating in or forming material coalitions that can serve to expedite action and exponentially speed up progress towards recyclability.</a:t>
            </a:r>
          </a:p>
          <a:p>
            <a:endParaRPr lang="en-US" sz="1600" dirty="0"/>
          </a:p>
          <a:p>
            <a:endParaRPr lang="en-US" sz="1600" dirty="0"/>
          </a:p>
          <a:p>
            <a:r>
              <a:rPr lang="en-US" sz="1600" dirty="0">
                <a:latin typeface="Source Sans Pro" panose="020B0503030403020204" pitchFamily="34" charset="0"/>
                <a:cs typeface="Calibri"/>
              </a:rPr>
              <a:t>First, you plug in your package details, leveraging the industry’s first ever fully digitized design guides from APR (the Association of Plastics Recyclers), American Forestry &amp; Paper, Carton Council, Aluminum Association, and Can Manufacturers Institute. This determines technical recyclability of your Design.</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Then, it leverages that National Recycling Database that I told you about earlier, pulling Access information from all 9,000 communities to relay if your package is Widely accepted for recycling or has more work to do to reach the 60% threshold set by the FTC Green Guides.</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From there, it let’s you know if your package can be captured at the MRF or Materials Recovery Facility.</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Does your package have solid End Markets?</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And is your package at risk of non-recyclable look-a-likes that will cause consumer confusion.</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For anyone who’s a nerd like me and wants know how each building block is determined and measured, it’s all right there in the tool. </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Now I’m sure many of you are asking, how does this align with SPC and the How2Recycle label assessment? </a:t>
            </a:r>
            <a:r>
              <a:rPr lang="en-US" sz="1600" b="0" i="0" u="none" strike="noStrike" dirty="0">
                <a:solidFill>
                  <a:srgbClr val="000000"/>
                </a:solidFill>
                <a:effectLst/>
                <a:latin typeface="Calibri" panose="020F0502020204030204" pitchFamily="34" charset="0"/>
              </a:rPr>
              <a:t>GreenBlue and The Recycling Partnership are committed to building industry alignment and harmonization to reduce confusion and improve the recycling system. The recyclability assessments used by How2Recycle and The Partnership are similar in many ways, and our teams are working to further align the two over the course of this year.</a:t>
            </a:r>
          </a:p>
          <a:p>
            <a:endParaRPr lang="en-US" sz="1600" dirty="0">
              <a:latin typeface="Source Sans Pro" panose="020B0503030403020204" pitchFamily="34" charset="0"/>
              <a:cs typeface="Calibri"/>
            </a:endParaRPr>
          </a:p>
          <a:p>
            <a:r>
              <a:rPr lang="en-US" sz="1600" dirty="0">
                <a:latin typeface="Source Sans Pro" panose="020B0503030403020204" pitchFamily="34" charset="0"/>
                <a:cs typeface="Calibri"/>
              </a:rPr>
              <a:t>This tool is coming live early this Summer, so please be on the lookout or sign up to receive more information on my contact slide at the end.</a:t>
            </a:r>
          </a:p>
          <a:p>
            <a:endParaRPr lang="en-US" sz="1600" dirty="0"/>
          </a:p>
          <a:p>
            <a:pPr marL="0" marR="0" lvl="0" indent="0" algn="l" defTabSz="914400" rtl="0" eaLnBrk="1" fontAlgn="auto" latinLnBrk="0" hangingPunct="1">
              <a:lnSpc>
                <a:spcPct val="100000"/>
              </a:lnSpc>
              <a:spcBef>
                <a:spcPts val="1000"/>
              </a:spcBef>
              <a:spcAft>
                <a:spcPts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1000"/>
              </a:spcBef>
              <a:spcAft>
                <a:spcPts val="0"/>
              </a:spcAft>
              <a:buClrTx/>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The underlying Framework was developed by The Recycling Partnership:</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In collaboration with 35 industry leaders, known as The Circularity Council (includes organizations representing the entire value chain) </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With input received from a month-long public comment period, hosted in summer 2021, and concluded with responses published in December 2021</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We see a critical role for the Framework going forward in:</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haping package design</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Helping states with policy by defining what is recyclable</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Informing recyclability claims</a:t>
            </a:r>
          </a:p>
          <a:p>
            <a:pPr marL="685800" marR="0" lvl="1" indent="-228600" algn="l" defTabSz="914400" rtl="0" eaLnBrk="1" fontAlgn="auto" latinLnBrk="0" hangingPunct="1">
              <a:lnSpc>
                <a:spcPct val="100000"/>
              </a:lnSpc>
              <a:spcBef>
                <a:spcPts val="500"/>
              </a:spcBef>
              <a:spcAft>
                <a:spcPts val="0"/>
              </a:spcAft>
              <a:buClrTx/>
              <a:buSzTx/>
              <a:buFont typeface="Arial"/>
              <a:buChar char="•"/>
              <a:tabLst/>
              <a:defRPr/>
            </a:pPr>
            <a:r>
              <a:rPr kumimoji="0" lang="en-US"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Driving new innovations</a:t>
            </a:r>
          </a:p>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Based on the Residential Recyclability Framework, this PDF will be an industry first, free to access/use, self-assessment guide for assessing packaging recyclability. (**** </a:t>
            </a:r>
            <a:r>
              <a:rPr lang="en-US" sz="1800" dirty="0">
                <a:effectLst/>
                <a:latin typeface="Segoe UI" panose="020B0502040204020203" pitchFamily="34" charset="0"/>
              </a:rPr>
              <a:t>Update this language to reflect next phase beyond PDF- beta then full tool</a:t>
            </a:r>
            <a:r>
              <a:rPr lang="en-US" sz="1800" dirty="0">
                <a:effectLst/>
                <a:latin typeface="Arial" panose="020B0604020202020204" pitchFamily="34" charset="0"/>
              </a:rPr>
              <a:t>)</a:t>
            </a:r>
            <a:endParaRPr lang="en-US" dirty="0"/>
          </a:p>
          <a:p>
            <a:endParaRPr lang="en-US" dirty="0"/>
          </a:p>
        </p:txBody>
      </p:sp>
      <p:sp>
        <p:nvSpPr>
          <p:cNvPr id="4" name="Slide Number Placeholder 3"/>
          <p:cNvSpPr>
            <a:spLocks noGrp="1"/>
          </p:cNvSpPr>
          <p:nvPr>
            <p:ph type="sldNum" sz="quarter" idx="5"/>
          </p:nvPr>
        </p:nvSpPr>
        <p:spPr/>
        <p:txBody>
          <a:bodyPr/>
          <a:lstStyle/>
          <a:p>
            <a:fld id="{9FE2503E-D0D4-468B-9C12-658AD44B92A3}" type="slidenum">
              <a:rPr lang="en-US" smtClean="0"/>
              <a:t>13</a:t>
            </a:fld>
            <a:endParaRPr lang="en-US" dirty="0"/>
          </a:p>
        </p:txBody>
      </p:sp>
    </p:spTree>
    <p:extLst>
      <p:ext uri="{BB962C8B-B14F-4D97-AF65-F5344CB8AC3E}">
        <p14:creationId xmlns:p14="http://schemas.microsoft.com/office/powerpoint/2010/main" val="347820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dirty="0">
                <a:latin typeface="Calibri"/>
                <a:cs typeface="Calibri"/>
              </a:rPr>
              <a:t>We have </a:t>
            </a:r>
            <a:r>
              <a:rPr lang="en-US" b="1" dirty="0">
                <a:latin typeface="Calibri"/>
                <a:cs typeface="Calibri"/>
              </a:rPr>
              <a:t>launched Recycle Check</a:t>
            </a:r>
            <a:r>
              <a:rPr lang="en-US" dirty="0">
                <a:latin typeface="Calibri"/>
                <a:cs typeface="Calibri"/>
              </a:rPr>
              <a:t>, an </a:t>
            </a:r>
            <a:r>
              <a:rPr lang="en-US" b="1" dirty="0">
                <a:latin typeface="Calibri"/>
                <a:cs typeface="Calibri"/>
              </a:rPr>
              <a:t>interactive platform </a:t>
            </a:r>
            <a:r>
              <a:rPr lang="en-US" dirty="0">
                <a:latin typeface="Calibri"/>
                <a:cs typeface="Calibri"/>
              </a:rPr>
              <a:t>that </a:t>
            </a:r>
            <a:r>
              <a:rPr lang="en-US" b="1" dirty="0">
                <a:latin typeface="Calibri"/>
                <a:cs typeface="Calibri"/>
              </a:rPr>
              <a:t>leverages the National Database to deliver </a:t>
            </a:r>
            <a:r>
              <a:rPr lang="en-US" b="1" dirty="0">
                <a:ea typeface="Source Sans Pro" panose="020B0503030403020204" pitchFamily="34" charset="0"/>
                <a:cs typeface="Calibri"/>
              </a:rPr>
              <a:t>local,</a:t>
            </a:r>
            <a:r>
              <a:rPr lang="en-US" b="1" dirty="0">
                <a:ea typeface="Source Sans Pro" panose="020B0503030403020204" pitchFamily="34" charset="0"/>
                <a:cs typeface="Source Sans Pro" panose="020B0503030403020204" pitchFamily="34" charset="0"/>
              </a:rPr>
              <a:t> package-specific, up-to-date recycling information to people across the U.S. in seconds</a:t>
            </a:r>
            <a:r>
              <a:rPr lang="en-US" dirty="0">
                <a:latin typeface="Calibri"/>
                <a:cs typeface="Calibri"/>
              </a:rPr>
              <a:t>.</a:t>
            </a:r>
            <a:r>
              <a:rPr lang="en-US" sz="1900" dirty="0">
                <a:ea typeface="Source Sans Pro" panose="020B0503030403020204" pitchFamily="34" charset="0"/>
                <a:cs typeface="Source Sans Pro" panose="020B0503030403020204" pitchFamily="34" charset="0"/>
              </a:rPr>
              <a:t> </a:t>
            </a:r>
          </a:p>
          <a:p>
            <a:pPr defTabSz="942289">
              <a:defRPr/>
            </a:pPr>
            <a:endParaRPr lang="en-US" sz="1900" dirty="0">
              <a:ea typeface="Source Sans Pro" panose="020B0503030403020204" pitchFamily="34" charset="0"/>
              <a:cs typeface="Source Sans Pro" panose="020B0503030403020204" pitchFamily="34" charset="0"/>
            </a:endParaRPr>
          </a:p>
          <a:p>
            <a:pPr defTabSz="942289">
              <a:defRPr/>
            </a:pPr>
            <a:r>
              <a:rPr lang="en-US" sz="1900" dirty="0">
                <a:ea typeface="Source Sans Pro" panose="020B0503030403020204" pitchFamily="34" charset="0"/>
                <a:cs typeface="Source Sans Pro" panose="020B0503030403020204" pitchFamily="34" charset="0"/>
              </a:rPr>
              <a:t>With </a:t>
            </a:r>
            <a:r>
              <a:rPr lang="en-US" sz="1900" b="1" dirty="0">
                <a:ea typeface="Source Sans Pro" panose="020B0503030403020204" pitchFamily="34" charset="0"/>
                <a:cs typeface="Source Sans Pro" panose="020B0503030403020204" pitchFamily="34" charset="0"/>
              </a:rPr>
              <a:t>custom links for each package type</a:t>
            </a:r>
            <a:r>
              <a:rPr lang="en-US" sz="1900" dirty="0">
                <a:ea typeface="Source Sans Pro" panose="020B0503030403020204" pitchFamily="34" charset="0"/>
                <a:cs typeface="Source Sans Pro" panose="020B0503030403020204" pitchFamily="34" charset="0"/>
              </a:rPr>
              <a:t>, anyone in the US </a:t>
            </a:r>
            <a:r>
              <a:rPr lang="en-US" sz="1900" b="1" dirty="0">
                <a:ea typeface="Source Sans Pro" panose="020B0503030403020204" pitchFamily="34" charset="0"/>
                <a:cs typeface="Source Sans Pro" panose="020B0503030403020204" pitchFamily="34" charset="0"/>
              </a:rPr>
              <a:t>can enter their zipcode or allow location permissions </a:t>
            </a:r>
            <a:r>
              <a:rPr lang="en-US" sz="1900" dirty="0">
                <a:ea typeface="Source Sans Pro" panose="020B0503030403020204" pitchFamily="34" charset="0"/>
                <a:cs typeface="Source Sans Pro" panose="020B0503030403020204" pitchFamily="34" charset="0"/>
              </a:rPr>
              <a:t>and Recycle Check quickly </a:t>
            </a:r>
            <a:r>
              <a:rPr lang="en-US" sz="1900" b="1" dirty="0">
                <a:ea typeface="Source Sans Pro" panose="020B0503030403020204" pitchFamily="34" charset="0"/>
                <a:cs typeface="Source Sans Pro" panose="020B0503030403020204" pitchFamily="34" charset="0"/>
              </a:rPr>
              <a:t>shows consumers if the products they buy can be recycled </a:t>
            </a:r>
            <a:r>
              <a:rPr lang="en-US" sz="1900" b="0" dirty="0">
                <a:ea typeface="Source Sans Pro" panose="020B0503030403020204" pitchFamily="34" charset="0"/>
                <a:cs typeface="Source Sans Pro" panose="020B0503030403020204" pitchFamily="34" charset="0"/>
              </a:rPr>
              <a:t>and</a:t>
            </a:r>
            <a:r>
              <a:rPr lang="en-US" sz="1900" b="1" dirty="0">
                <a:ea typeface="Source Sans Pro" panose="020B0503030403020204" pitchFamily="34" charset="0"/>
                <a:cs typeface="Source Sans Pro" panose="020B0503030403020204" pitchFamily="34" charset="0"/>
              </a:rPr>
              <a:t> how to do so</a:t>
            </a:r>
            <a:r>
              <a:rPr lang="en-US" sz="1900" dirty="0">
                <a:ea typeface="Source Sans Pro" panose="020B0503030403020204" pitchFamily="34" charset="0"/>
                <a:cs typeface="Source Sans Pro" panose="020B0503030403020204" pitchFamily="34" charset="0"/>
              </a:rPr>
              <a:t>, </a:t>
            </a:r>
            <a:r>
              <a:rPr lang="en-US" sz="1900" b="1" dirty="0">
                <a:ea typeface="Source Sans Pro" panose="020B0503030403020204" pitchFamily="34" charset="0"/>
                <a:cs typeface="Source Sans Pro" panose="020B0503030403020204" pitchFamily="34" charset="0"/>
              </a:rPr>
              <a:t>wherever they are</a:t>
            </a:r>
            <a:r>
              <a:rPr lang="en-US" sz="1900" dirty="0">
                <a:ea typeface="Source Sans Pro" panose="020B0503030403020204" pitchFamily="34" charset="0"/>
                <a:cs typeface="Source Sans Pro" panose="020B0503030403020204" pitchFamily="34" charset="0"/>
              </a:rPr>
              <a:t>.</a:t>
            </a:r>
          </a:p>
          <a:p>
            <a:pPr defTabSz="942289">
              <a:defRPr/>
            </a:pPr>
            <a:endParaRPr lang="en-US" sz="1900" dirty="0">
              <a:ea typeface="Source Sans Pro" panose="020B0503030403020204" pitchFamily="34" charset="0"/>
              <a:cs typeface="Source Sans Pro" panose="020B0503030403020204" pitchFamily="34" charset="0"/>
            </a:endParaRPr>
          </a:p>
          <a:p>
            <a:pPr defTabSz="942289">
              <a:defRPr/>
            </a:pPr>
            <a:r>
              <a:rPr lang="en-US" sz="1900" dirty="0">
                <a:ea typeface="Source Sans Pro" panose="020B0503030403020204" pitchFamily="34" charset="0"/>
                <a:cs typeface="Source Sans Pro" panose="020B0503030403020204" pitchFamily="34" charset="0"/>
              </a:rPr>
              <a:t>It can be </a:t>
            </a:r>
            <a:r>
              <a:rPr lang="en-US" sz="1900" b="1" dirty="0">
                <a:ea typeface="Source Sans Pro" panose="020B0503030403020204" pitchFamily="34" charset="0"/>
                <a:cs typeface="Source Sans Pro" panose="020B0503030403020204" pitchFamily="34" charset="0"/>
              </a:rPr>
              <a:t>used as a digital link on a product webpage</a:t>
            </a:r>
            <a:r>
              <a:rPr lang="en-US" sz="1900" dirty="0">
                <a:ea typeface="Source Sans Pro" panose="020B0503030403020204" pitchFamily="34" charset="0"/>
                <a:cs typeface="Source Sans Pro" panose="020B0503030403020204" pitchFamily="34" charset="0"/>
              </a:rPr>
              <a:t>, or as a </a:t>
            </a:r>
            <a:r>
              <a:rPr lang="en-US" sz="1900" b="1" dirty="0">
                <a:ea typeface="Source Sans Pro" panose="020B0503030403020204" pitchFamily="34" charset="0"/>
                <a:cs typeface="Source Sans Pro" panose="020B0503030403020204" pitchFamily="34" charset="0"/>
              </a:rPr>
              <a:t>QR code on a physical packaging label</a:t>
            </a:r>
            <a:r>
              <a:rPr lang="en-US" sz="1900" dirty="0">
                <a:ea typeface="Source Sans Pro" panose="020B0503030403020204" pitchFamily="34" charset="0"/>
                <a:cs typeface="Source Sans Pro" panose="020B0503030403020204" pitchFamily="34" charset="0"/>
              </a:rPr>
              <a:t>.</a:t>
            </a:r>
          </a:p>
          <a:p>
            <a:pPr defTabSz="942289">
              <a:defRPr/>
            </a:pPr>
            <a:endParaRPr lang="en-US" sz="1900" dirty="0">
              <a:latin typeface="Calibri"/>
              <a:cs typeface="Calibri"/>
            </a:endParaRPr>
          </a:p>
          <a:p>
            <a:pPr defTabSz="942289">
              <a:defRPr/>
            </a:pPr>
            <a:r>
              <a:rPr lang="en-US" sz="1900" dirty="0">
                <a:latin typeface="Calibri"/>
                <a:cs typeface="Calibri"/>
              </a:rPr>
              <a:t>The platform is for </a:t>
            </a:r>
            <a:r>
              <a:rPr lang="en-US" sz="1900" b="1" dirty="0">
                <a:latin typeface="Calibri"/>
                <a:cs typeface="Calibri"/>
              </a:rPr>
              <a:t>all residential recyclables </a:t>
            </a:r>
            <a:r>
              <a:rPr lang="en-US" sz="1900" dirty="0">
                <a:latin typeface="Calibri"/>
                <a:cs typeface="Calibri"/>
              </a:rPr>
              <a:t>– plastic, paper, metals, glass. Because of it’s </a:t>
            </a:r>
            <a:r>
              <a:rPr lang="en-US" sz="1900" b="1" dirty="0">
                <a:latin typeface="Calibri"/>
                <a:cs typeface="Calibri"/>
              </a:rPr>
              <a:t>ability to deliver up to date community specific information</a:t>
            </a:r>
            <a:r>
              <a:rPr lang="en-US" sz="1900" dirty="0">
                <a:latin typeface="Calibri"/>
                <a:cs typeface="Calibri"/>
              </a:rPr>
              <a:t>, it is an especially </a:t>
            </a:r>
            <a:r>
              <a:rPr lang="en-US" sz="1900" b="1" dirty="0">
                <a:latin typeface="Calibri"/>
                <a:cs typeface="Calibri"/>
              </a:rPr>
              <a:t>helpful solution for packages that are accepted in some but not all curbside programs </a:t>
            </a:r>
            <a:r>
              <a:rPr lang="en-US" sz="1900" dirty="0">
                <a:latin typeface="Calibri"/>
                <a:cs typeface="Calibri"/>
              </a:rPr>
              <a:t>such as thermoforms or clamshells like this one, beverage cups, or items with growing access rates such as polypropylene. </a:t>
            </a:r>
            <a:endParaRPr lang="en-US" dirty="0">
              <a:latin typeface="Calibri"/>
              <a:cs typeface="Calibri"/>
            </a:endParaRPr>
          </a:p>
          <a:p>
            <a:endParaRPr lang="en-US" dirty="0">
              <a:latin typeface="Calibri"/>
              <a:cs typeface="Calibri"/>
            </a:endParaRPr>
          </a:p>
          <a:p>
            <a:r>
              <a:rPr lang="en-US" dirty="0">
                <a:latin typeface="Calibri"/>
                <a:cs typeface="Calibri"/>
              </a:rPr>
              <a:t>So why don’t you try it for yourselves?!</a:t>
            </a:r>
          </a:p>
        </p:txBody>
      </p:sp>
      <p:sp>
        <p:nvSpPr>
          <p:cNvPr id="4" name="Slide Number Placeholder 3"/>
          <p:cNvSpPr>
            <a:spLocks noGrp="1"/>
          </p:cNvSpPr>
          <p:nvPr>
            <p:ph type="sldNum" sz="quarter" idx="5"/>
          </p:nvPr>
        </p:nvSpPr>
        <p:spPr/>
        <p:txBody>
          <a:bodyPr/>
          <a:lstStyle/>
          <a:p>
            <a:fld id="{4C17EB8A-ADB1-4B41-ABAA-23F2EE01A419}" type="slidenum">
              <a:rPr lang="en-US" smtClean="0"/>
              <a:pPr/>
              <a:t>14</a:t>
            </a:fld>
            <a:endParaRPr lang="en-US" dirty="0"/>
          </a:p>
        </p:txBody>
      </p:sp>
    </p:spTree>
    <p:extLst>
      <p:ext uri="{BB962C8B-B14F-4D97-AF65-F5344CB8AC3E}">
        <p14:creationId xmlns:p14="http://schemas.microsoft.com/office/powerpoint/2010/main" val="1570307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rPr>
              <a:t>recycling program managers will have an open-access, free tool for connectivity, resources, and verification of critical information needed for the success of the entire recycling syst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76642D-6D73-8C4D-9431-7670155DFB5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8853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C17EB8A-ADB1-4B41-ABAA-23F2EE01A419}" type="slidenum">
              <a:rPr lang="en-US" smtClean="0"/>
              <a:pPr/>
              <a:t>20</a:t>
            </a:fld>
            <a:endParaRPr lang="en-US" dirty="0"/>
          </a:p>
        </p:txBody>
      </p:sp>
    </p:spTree>
    <p:extLst>
      <p:ext uri="{BB962C8B-B14F-4D97-AF65-F5344CB8AC3E}">
        <p14:creationId xmlns:p14="http://schemas.microsoft.com/office/powerpoint/2010/main" val="2002266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15.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15.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15.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6.xml"/><Relationship Id="rId4" Type="http://schemas.openxmlformats.org/officeDocument/2006/relationships/image" Target="../media/image15.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6.xml"/><Relationship Id="rId4" Type="http://schemas.openxmlformats.org/officeDocument/2006/relationships/image" Target="../media/image15.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6.xml"/><Relationship Id="rId4" Type="http://schemas.openxmlformats.org/officeDocument/2006/relationships/image" Target="../media/image15.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9.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 Id="rId4" Type="http://schemas.openxmlformats.org/officeDocument/2006/relationships/image" Target="../media/image1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 Id="rId4"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 Id="rId4" Type="http://schemas.openxmlformats.org/officeDocument/2006/relationships/image" Target="../media/image15.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F79D3-6E38-774A-9309-14811AD535DF}"/>
              </a:ext>
            </a:extLst>
          </p:cNvPr>
          <p:cNvSpPr>
            <a:spLocks noGrp="1"/>
          </p:cNvSpPr>
          <p:nvPr>
            <p:ph type="title" hasCustomPrompt="1"/>
          </p:nvPr>
        </p:nvSpPr>
        <p:spPr>
          <a:xfrm>
            <a:off x="2178996" y="1704305"/>
            <a:ext cx="8677072" cy="1200329"/>
          </a:xfrm>
          <a:prstGeom prst="rect">
            <a:avLst/>
          </a:prstGeom>
        </p:spPr>
        <p:txBody>
          <a:bodyPr wrap="square">
            <a:spAutoFit/>
          </a:bodyPr>
          <a:lstStyle>
            <a:lvl1pPr>
              <a:defRPr sz="8000">
                <a:latin typeface="+mj-lt"/>
              </a:defRPr>
            </a:lvl1pPr>
          </a:lstStyle>
          <a:p>
            <a:r>
              <a:rPr lang="en-US"/>
              <a:t>Click to edit title</a:t>
            </a:r>
          </a:p>
        </p:txBody>
      </p:sp>
      <p:sp>
        <p:nvSpPr>
          <p:cNvPr id="9" name="Text Placeholder 8">
            <a:extLst>
              <a:ext uri="{FF2B5EF4-FFF2-40B4-BE49-F238E27FC236}">
                <a16:creationId xmlns:a16="http://schemas.microsoft.com/office/drawing/2014/main" id="{BC127936-B801-564A-862C-C837FE801B8A}"/>
              </a:ext>
            </a:extLst>
          </p:cNvPr>
          <p:cNvSpPr>
            <a:spLocks noGrp="1"/>
          </p:cNvSpPr>
          <p:nvPr>
            <p:ph type="body" sz="quarter" idx="12" hasCustomPrompt="1"/>
          </p:nvPr>
        </p:nvSpPr>
        <p:spPr>
          <a:xfrm>
            <a:off x="2406650" y="3744100"/>
            <a:ext cx="2533652" cy="341632"/>
          </a:xfrm>
          <a:prstGeom prst="rect">
            <a:avLst/>
          </a:prstGeom>
        </p:spPr>
        <p:txBody>
          <a:bodyPr wrap="square">
            <a:spAutoFit/>
          </a:bodyPr>
          <a:lstStyle>
            <a:lvl1pPr marL="0" indent="0" algn="ctr">
              <a:buNone/>
              <a:defRPr sz="1800" b="1" i="0">
                <a:solidFill>
                  <a:schemeClr val="bg1"/>
                </a:solidFill>
                <a:latin typeface="+mn-lt"/>
              </a:defRPr>
            </a:lvl1pPr>
            <a:lvl3pPr marL="914400" indent="0">
              <a:buNone/>
              <a:defRPr/>
            </a:lvl3pPr>
          </a:lstStyle>
          <a:p>
            <a:pPr lvl="0"/>
            <a:r>
              <a:rPr lang="en-US"/>
              <a:t>Date</a:t>
            </a:r>
          </a:p>
        </p:txBody>
      </p:sp>
    </p:spTree>
    <p:extLst>
      <p:ext uri="{BB962C8B-B14F-4D97-AF65-F5344CB8AC3E}">
        <p14:creationId xmlns:p14="http://schemas.microsoft.com/office/powerpoint/2010/main" val="2124833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Tree>
    <p:extLst>
      <p:ext uri="{BB962C8B-B14F-4D97-AF65-F5344CB8AC3E}">
        <p14:creationId xmlns:p14="http://schemas.microsoft.com/office/powerpoint/2010/main" val="27440099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Lin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Tree>
    <p:extLst>
      <p:ext uri="{BB962C8B-B14F-4D97-AF65-F5344CB8AC3E}">
        <p14:creationId xmlns:p14="http://schemas.microsoft.com/office/powerpoint/2010/main" val="42363997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7810370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37090283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5A2D3-FE43-24BA-5477-FB0F83CD5E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114F36-FD16-8891-1088-F57CFDB621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58D0D1-63C8-B285-1D6D-D159316AC41B}"/>
              </a:ext>
            </a:extLst>
          </p:cNvPr>
          <p:cNvSpPr>
            <a:spLocks noGrp="1"/>
          </p:cNvSpPr>
          <p:nvPr>
            <p:ph type="dt" sz="half" idx="10"/>
          </p:nvPr>
        </p:nvSpPr>
        <p:spPr/>
        <p:txBody>
          <a:bodyPr/>
          <a:lstStyle/>
          <a:p>
            <a:fld id="{7C9FD555-C4AD-4CDA-8760-8F6381FBF21F}" type="datetimeFigureOut">
              <a:rPr lang="en-US" smtClean="0"/>
              <a:t>10/22/2023</a:t>
            </a:fld>
            <a:endParaRPr lang="en-US" dirty="0"/>
          </a:p>
        </p:txBody>
      </p:sp>
      <p:sp>
        <p:nvSpPr>
          <p:cNvPr id="5" name="Footer Placeholder 4">
            <a:extLst>
              <a:ext uri="{FF2B5EF4-FFF2-40B4-BE49-F238E27FC236}">
                <a16:creationId xmlns:a16="http://schemas.microsoft.com/office/drawing/2014/main" id="{866B402A-35CE-68D1-1876-2D1A45BF4C3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0A35045-C4F6-67F8-7A14-6ED9FA49EFE1}"/>
              </a:ext>
            </a:extLst>
          </p:cNvPr>
          <p:cNvSpPr>
            <a:spLocks noGrp="1"/>
          </p:cNvSpPr>
          <p:nvPr>
            <p:ph type="sldNum" sz="quarter" idx="12"/>
          </p:nvPr>
        </p:nvSpPr>
        <p:spPr/>
        <p:txBody>
          <a:bodyPr/>
          <a:lstStyle/>
          <a:p>
            <a:fld id="{4B238B37-F766-46F7-BE32-31D01F1B4DAC}" type="slidenum">
              <a:rPr lang="en-US" smtClean="0"/>
              <a:t>‹#›</a:t>
            </a:fld>
            <a:endParaRPr lang="en-US" dirty="0"/>
          </a:p>
        </p:txBody>
      </p:sp>
    </p:spTree>
    <p:extLst>
      <p:ext uri="{BB962C8B-B14F-4D97-AF65-F5344CB8AC3E}">
        <p14:creationId xmlns:p14="http://schemas.microsoft.com/office/powerpoint/2010/main" val="1951805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744C9-411A-AE29-75A2-B57AA477ED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8726638-8D92-CF20-50FE-A85EF80120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DD2197-915E-BD3B-35A3-F7CF8C17E724}"/>
              </a:ext>
            </a:extLst>
          </p:cNvPr>
          <p:cNvSpPr>
            <a:spLocks noGrp="1"/>
          </p:cNvSpPr>
          <p:nvPr>
            <p:ph type="dt" sz="half" idx="10"/>
          </p:nvPr>
        </p:nvSpPr>
        <p:spPr/>
        <p:txBody>
          <a:bodyPr/>
          <a:lstStyle/>
          <a:p>
            <a:fld id="{60C45E79-AFBA-4CCF-97AD-F60BAB606D45}" type="datetimeFigureOut">
              <a:rPr lang="en-US" smtClean="0"/>
              <a:t>10/22/2023</a:t>
            </a:fld>
            <a:endParaRPr lang="en-US" dirty="0"/>
          </a:p>
        </p:txBody>
      </p:sp>
      <p:sp>
        <p:nvSpPr>
          <p:cNvPr id="5" name="Footer Placeholder 4">
            <a:extLst>
              <a:ext uri="{FF2B5EF4-FFF2-40B4-BE49-F238E27FC236}">
                <a16:creationId xmlns:a16="http://schemas.microsoft.com/office/drawing/2014/main" id="{32F9552A-213D-94A6-3D7A-02FB57681A1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AF9834C-A42B-B138-860F-1EF2AFA81D67}"/>
              </a:ext>
            </a:extLst>
          </p:cNvPr>
          <p:cNvSpPr>
            <a:spLocks noGrp="1"/>
          </p:cNvSpPr>
          <p:nvPr>
            <p:ph type="sldNum" sz="quarter" idx="12"/>
          </p:nvPr>
        </p:nvSpPr>
        <p:spPr/>
        <p:txBody>
          <a:bodyPr/>
          <a:lstStyle/>
          <a:p>
            <a:fld id="{58CC1D4F-93D9-4181-B9F0-E62595DFFD43}" type="slidenum">
              <a:rPr lang="en-US" smtClean="0"/>
              <a:t>‹#›</a:t>
            </a:fld>
            <a:endParaRPr lang="en-US" dirty="0"/>
          </a:p>
        </p:txBody>
      </p:sp>
    </p:spTree>
    <p:extLst>
      <p:ext uri="{BB962C8B-B14F-4D97-AF65-F5344CB8AC3E}">
        <p14:creationId xmlns:p14="http://schemas.microsoft.com/office/powerpoint/2010/main" val="25809880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ection-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40627405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370902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AEA892D-6B49-4B09-8B95-54B6823C858E}"/>
              </a:ext>
            </a:extLst>
          </p:cNvPr>
          <p:cNvSpPr>
            <a:spLocks noGrp="1"/>
          </p:cNvSpPr>
          <p:nvPr>
            <p:ph type="sldNum" sz="quarter" idx="4"/>
          </p:nvPr>
        </p:nvSpPr>
        <p:spPr>
          <a:xfrm>
            <a:off x="11602656" y="6317438"/>
            <a:ext cx="589344" cy="365125"/>
          </a:xfrm>
          <a:prstGeom prst="rect">
            <a:avLst/>
          </a:prstGeom>
        </p:spPr>
        <p:txBody>
          <a:bodyPr vert="horz" lIns="91440" tIns="45720" rIns="91440" bIns="45720" rtlCol="0" anchor="ctr"/>
          <a:lstStyle>
            <a:lvl1pPr algn="l">
              <a:defRPr sz="1200" b="1">
                <a:solidFill>
                  <a:schemeClr val="bg1"/>
                </a:solidFill>
                <a:latin typeface="Century Gothic" panose="020B0502020202020204" pitchFamily="34" charset="0"/>
              </a:defRPr>
            </a:lvl1p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13484393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4937639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751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12321586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Tree>
    <p:extLst>
      <p:ext uri="{BB962C8B-B14F-4D97-AF65-F5344CB8AC3E}">
        <p14:creationId xmlns:p14="http://schemas.microsoft.com/office/powerpoint/2010/main" val="36308266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mall Squa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09899F6F-FC6D-F86D-2717-17CB462D9B83}"/>
              </a:ext>
            </a:extLst>
          </p:cNvPr>
          <p:cNvSpPr>
            <a:spLocks noGrp="1"/>
          </p:cNvSpPr>
          <p:nvPr>
            <p:ph type="body" sz="quarter" idx="12"/>
          </p:nvPr>
        </p:nvSpPr>
        <p:spPr>
          <a:xfrm>
            <a:off x="915923" y="1664462"/>
            <a:ext cx="4823395" cy="400110"/>
          </a:xfrm>
          <a:prstGeom prst="rect">
            <a:avLst/>
          </a:prstGeom>
        </p:spPr>
        <p:txBody>
          <a:bodyPr wrap="square">
            <a:spAutoFit/>
          </a:bodyPr>
          <a:lstStyle>
            <a:lvl1pPr marL="0" indent="0" algn="l">
              <a:lnSpc>
                <a:spcPct val="100000"/>
              </a:lnSpc>
              <a:spcBef>
                <a:spcPts val="0"/>
              </a:spcBef>
              <a:buNone/>
              <a:defRPr sz="2000" b="1">
                <a:solidFill>
                  <a:schemeClr val="tx2"/>
                </a:solidFill>
                <a:latin typeface="+mj-lt"/>
              </a:defRPr>
            </a:lvl1pPr>
          </a:lstStyle>
          <a:p>
            <a:pPr lvl="0"/>
            <a:endParaRPr lang="en-US"/>
          </a:p>
        </p:txBody>
      </p:sp>
      <p:sp>
        <p:nvSpPr>
          <p:cNvPr id="4" name="Rectangle 3">
            <a:extLst>
              <a:ext uri="{FF2B5EF4-FFF2-40B4-BE49-F238E27FC236}">
                <a16:creationId xmlns:a16="http://schemas.microsoft.com/office/drawing/2014/main" id="{E84DD2D2-3572-7E10-7E73-152459F761BA}"/>
              </a:ext>
            </a:extLst>
          </p:cNvPr>
          <p:cNvSpPr/>
          <p:nvPr userDrawn="1"/>
        </p:nvSpPr>
        <p:spPr>
          <a:xfrm>
            <a:off x="6704077" y="1535919"/>
            <a:ext cx="4572000" cy="3931920"/>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821A043D-D6A7-48B0-6BA5-9094B8B17ED9}"/>
              </a:ext>
            </a:extLst>
          </p:cNvPr>
          <p:cNvSpPr>
            <a:spLocks noGrp="1"/>
          </p:cNvSpPr>
          <p:nvPr>
            <p:ph type="body" sz="quarter" idx="13"/>
          </p:nvPr>
        </p:nvSpPr>
        <p:spPr>
          <a:xfrm>
            <a:off x="7068005" y="1943322"/>
            <a:ext cx="3844144" cy="369332"/>
          </a:xfrm>
          <a:prstGeom prst="rect">
            <a:avLst/>
          </a:prstGeom>
        </p:spPr>
        <p:txBody>
          <a:bodyPr wrap="square">
            <a:spAutoFit/>
          </a:bodyPr>
          <a:lstStyle>
            <a:lvl1pPr marL="0" indent="0" algn="l">
              <a:lnSpc>
                <a:spcPct val="100000"/>
              </a:lnSpc>
              <a:spcBef>
                <a:spcPts val="0"/>
              </a:spcBef>
              <a:buNone/>
              <a:defRPr sz="1800" b="1">
                <a:solidFill>
                  <a:schemeClr val="accent3"/>
                </a:solidFill>
                <a:latin typeface="+mj-lt"/>
              </a:defRPr>
            </a:lvl1pPr>
          </a:lstStyle>
          <a:p>
            <a:pPr lvl="0"/>
            <a:endParaRPr lang="en-US"/>
          </a:p>
        </p:txBody>
      </p:sp>
    </p:spTree>
    <p:extLst>
      <p:ext uri="{BB962C8B-B14F-4D97-AF65-F5344CB8AC3E}">
        <p14:creationId xmlns:p14="http://schemas.microsoft.com/office/powerpoint/2010/main" val="41266319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2" name="Graphic 1">
            <a:extLst>
              <a:ext uri="{FF2B5EF4-FFF2-40B4-BE49-F238E27FC236}">
                <a16:creationId xmlns:a16="http://schemas.microsoft.com/office/drawing/2014/main" id="{9F41C9DD-9D7F-E574-6C8E-A0BA639B15A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7" name="Picture 6">
            <a:extLst>
              <a:ext uri="{FF2B5EF4-FFF2-40B4-BE49-F238E27FC236}">
                <a16:creationId xmlns:a16="http://schemas.microsoft.com/office/drawing/2014/main" id="{F26FB4F6-6294-F7E7-26E7-690E948FAA7C}"/>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516" y="1362748"/>
            <a:ext cx="1603251" cy="1603251"/>
          </a:xfrm>
          <a:prstGeom prst="ellipse">
            <a:avLst/>
          </a:prstGeom>
          <a:solidFill>
            <a:schemeClr val="bg1"/>
          </a:solidFill>
        </p:spPr>
      </p:pic>
      <p:pic>
        <p:nvPicPr>
          <p:cNvPr id="8" name="Picture 7">
            <a:extLst>
              <a:ext uri="{FF2B5EF4-FFF2-40B4-BE49-F238E27FC236}">
                <a16:creationId xmlns:a16="http://schemas.microsoft.com/office/drawing/2014/main" id="{B39D4477-9A64-9161-C46A-75A2B8569E5A}"/>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375" y="1362748"/>
            <a:ext cx="1603251" cy="1603251"/>
          </a:xfrm>
          <a:prstGeom prst="ellipse">
            <a:avLst/>
          </a:prstGeom>
          <a:solidFill>
            <a:schemeClr val="bg1"/>
          </a:solidFill>
        </p:spPr>
      </p:pic>
      <p:pic>
        <p:nvPicPr>
          <p:cNvPr id="9" name="Picture 8">
            <a:extLst>
              <a:ext uri="{FF2B5EF4-FFF2-40B4-BE49-F238E27FC236}">
                <a16:creationId xmlns:a16="http://schemas.microsoft.com/office/drawing/2014/main" id="{072DE7EC-4168-3E8D-B474-3A0F449356C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233" y="1362748"/>
            <a:ext cx="1603251" cy="1603251"/>
          </a:xfrm>
          <a:prstGeom prst="ellipse">
            <a:avLst/>
          </a:prstGeom>
          <a:solidFill>
            <a:schemeClr val="bg1"/>
          </a:solidFill>
        </p:spPr>
      </p:pic>
    </p:spTree>
    <p:extLst>
      <p:ext uri="{BB962C8B-B14F-4D97-AF65-F5344CB8AC3E}">
        <p14:creationId xmlns:p14="http://schemas.microsoft.com/office/powerpoint/2010/main" val="33990456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ocks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605153"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3898011"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6190869"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8483727"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1775079"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1775079"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2209038"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1775079"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4067937"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4067937"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4501896"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4067937"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6360795"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6360795"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6794754"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6360795"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userDrawn="1">
            <p:ph type="body" sz="quarter" idx="23"/>
          </p:nvPr>
        </p:nvSpPr>
        <p:spPr>
          <a:xfrm>
            <a:off x="8653653"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userDrawn="1">
            <p:ph type="body" sz="quarter" idx="24"/>
          </p:nvPr>
        </p:nvSpPr>
        <p:spPr>
          <a:xfrm>
            <a:off x="8653653"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9087612"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userDrawn="1">
            <p:ph type="body" sz="quarter" idx="25"/>
          </p:nvPr>
        </p:nvSpPr>
        <p:spPr>
          <a:xfrm>
            <a:off x="8653653"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EDF55984-000E-8984-E1FD-1C5F229ACDC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B3373AFF-A781-8A01-575C-AA3F3F31FF1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1855088" y="1362748"/>
            <a:ext cx="1603251" cy="1603251"/>
          </a:xfrm>
          <a:prstGeom prst="ellipse">
            <a:avLst/>
          </a:prstGeom>
        </p:spPr>
      </p:pic>
      <p:pic>
        <p:nvPicPr>
          <p:cNvPr id="27" name="Picture 26">
            <a:extLst>
              <a:ext uri="{FF2B5EF4-FFF2-40B4-BE49-F238E27FC236}">
                <a16:creationId xmlns:a16="http://schemas.microsoft.com/office/drawing/2014/main" id="{3A4DF074-FCEF-F240-42DF-1B023B9B8DE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4147946" y="1362748"/>
            <a:ext cx="1603251" cy="1603251"/>
          </a:xfrm>
          <a:prstGeom prst="ellipse">
            <a:avLst/>
          </a:prstGeom>
        </p:spPr>
      </p:pic>
      <p:pic>
        <p:nvPicPr>
          <p:cNvPr id="28" name="Picture 27">
            <a:extLst>
              <a:ext uri="{FF2B5EF4-FFF2-40B4-BE49-F238E27FC236}">
                <a16:creationId xmlns:a16="http://schemas.microsoft.com/office/drawing/2014/main" id="{D3474343-027B-3D92-5A9E-AADDE88E43E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6440804" y="1362748"/>
            <a:ext cx="1603251" cy="1603251"/>
          </a:xfrm>
          <a:prstGeom prst="ellipse">
            <a:avLst/>
          </a:prstGeom>
        </p:spPr>
      </p:pic>
      <p:pic>
        <p:nvPicPr>
          <p:cNvPr id="29" name="Picture 28">
            <a:extLst>
              <a:ext uri="{FF2B5EF4-FFF2-40B4-BE49-F238E27FC236}">
                <a16:creationId xmlns:a16="http://schemas.microsoft.com/office/drawing/2014/main" id="{D21815F1-34B3-32A3-C086-D2969E96F33D}"/>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8733662" y="1362748"/>
            <a:ext cx="1603251" cy="1603251"/>
          </a:xfrm>
          <a:prstGeom prst="ellipse">
            <a:avLst/>
          </a:prstGeom>
        </p:spPr>
      </p:pic>
    </p:spTree>
    <p:extLst>
      <p:ext uri="{BB962C8B-B14F-4D97-AF65-F5344CB8AC3E}">
        <p14:creationId xmlns:p14="http://schemas.microsoft.com/office/powerpoint/2010/main" val="21347517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ock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4FF8598-4A73-B87D-8511-B9C051904D29}"/>
              </a:ext>
            </a:extLst>
          </p:cNvPr>
          <p:cNvSpPr/>
          <p:nvPr userDrawn="1"/>
        </p:nvSpPr>
        <p:spPr>
          <a:xfrm>
            <a:off x="458724"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628650"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628650"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1062609"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628650"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7" name="Rectangle 26">
            <a:extLst>
              <a:ext uri="{FF2B5EF4-FFF2-40B4-BE49-F238E27FC236}">
                <a16:creationId xmlns:a16="http://schemas.microsoft.com/office/drawing/2014/main" id="{977941D7-FAF9-9C99-785A-8911EB7273AB}"/>
              </a:ext>
            </a:extLst>
          </p:cNvPr>
          <p:cNvSpPr/>
          <p:nvPr userDrawn="1"/>
        </p:nvSpPr>
        <p:spPr>
          <a:xfrm>
            <a:off x="9630156"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7">
            <a:extLst>
              <a:ext uri="{FF2B5EF4-FFF2-40B4-BE49-F238E27FC236}">
                <a16:creationId xmlns:a16="http://schemas.microsoft.com/office/drawing/2014/main" id="{D756774C-9FE3-86FA-4336-3A2E21C342CF}"/>
              </a:ext>
            </a:extLst>
          </p:cNvPr>
          <p:cNvSpPr>
            <a:spLocks noGrp="1"/>
          </p:cNvSpPr>
          <p:nvPr>
            <p:ph type="body" sz="quarter" idx="26"/>
          </p:nvPr>
        </p:nvSpPr>
        <p:spPr>
          <a:xfrm>
            <a:off x="9800082"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9" name="Text Placeholder 7">
            <a:extLst>
              <a:ext uri="{FF2B5EF4-FFF2-40B4-BE49-F238E27FC236}">
                <a16:creationId xmlns:a16="http://schemas.microsoft.com/office/drawing/2014/main" id="{6FCADC7F-CEFE-5CB6-7E51-A9CC172B980A}"/>
              </a:ext>
            </a:extLst>
          </p:cNvPr>
          <p:cNvSpPr>
            <a:spLocks noGrp="1"/>
          </p:cNvSpPr>
          <p:nvPr>
            <p:ph type="body" sz="quarter" idx="27"/>
          </p:nvPr>
        </p:nvSpPr>
        <p:spPr>
          <a:xfrm>
            <a:off x="9800082"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30" name="Straight Connector 29">
            <a:extLst>
              <a:ext uri="{FF2B5EF4-FFF2-40B4-BE49-F238E27FC236}">
                <a16:creationId xmlns:a16="http://schemas.microsoft.com/office/drawing/2014/main" id="{6F5E91DF-0A96-22A0-371D-640B57E7D242}"/>
              </a:ext>
            </a:extLst>
          </p:cNvPr>
          <p:cNvCxnSpPr>
            <a:cxnSpLocks/>
          </p:cNvCxnSpPr>
          <p:nvPr userDrawn="1"/>
        </p:nvCxnSpPr>
        <p:spPr>
          <a:xfrm>
            <a:off x="10234041"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255C6C76-F58C-2042-9EB7-AB5EA9D88452}"/>
              </a:ext>
            </a:extLst>
          </p:cNvPr>
          <p:cNvSpPr>
            <a:spLocks noGrp="1"/>
          </p:cNvSpPr>
          <p:nvPr>
            <p:ph type="body" sz="quarter" idx="28"/>
          </p:nvPr>
        </p:nvSpPr>
        <p:spPr>
          <a:xfrm>
            <a:off x="9800082"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77889A56-40F9-9680-1D99-7DF2DB33FB0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CF284CA0-2051-3E59-72F6-A02AB0150BA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08911" y="1362748"/>
            <a:ext cx="1603251" cy="1603251"/>
          </a:xfrm>
          <a:prstGeom prst="ellipse">
            <a:avLst/>
          </a:prstGeom>
        </p:spPr>
      </p:pic>
      <p:pic>
        <p:nvPicPr>
          <p:cNvPr id="32" name="Picture 31">
            <a:extLst>
              <a:ext uri="{FF2B5EF4-FFF2-40B4-BE49-F238E27FC236}">
                <a16:creationId xmlns:a16="http://schemas.microsoft.com/office/drawing/2014/main" id="{35C8F448-6E63-9C48-3AA8-2B319845CF4E}"/>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769" y="1362748"/>
            <a:ext cx="1603251" cy="1603251"/>
          </a:xfrm>
          <a:prstGeom prst="ellipse">
            <a:avLst/>
          </a:prstGeom>
        </p:spPr>
      </p:pic>
      <p:pic>
        <p:nvPicPr>
          <p:cNvPr id="33" name="Picture 32">
            <a:extLst>
              <a:ext uri="{FF2B5EF4-FFF2-40B4-BE49-F238E27FC236}">
                <a16:creationId xmlns:a16="http://schemas.microsoft.com/office/drawing/2014/main" id="{6AF66E33-63A5-D749-D4A1-88E6939DF74B}"/>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627" y="1362748"/>
            <a:ext cx="1603251" cy="1603251"/>
          </a:xfrm>
          <a:prstGeom prst="ellipse">
            <a:avLst/>
          </a:prstGeom>
        </p:spPr>
      </p:pic>
      <p:pic>
        <p:nvPicPr>
          <p:cNvPr id="34" name="Picture 33">
            <a:extLst>
              <a:ext uri="{FF2B5EF4-FFF2-40B4-BE49-F238E27FC236}">
                <a16:creationId xmlns:a16="http://schemas.microsoft.com/office/drawing/2014/main" id="{E33BE5BA-90D0-3478-0B62-E0B6A61C4B39}"/>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485" y="1362748"/>
            <a:ext cx="1603251" cy="1603251"/>
          </a:xfrm>
          <a:prstGeom prst="ellipse">
            <a:avLst/>
          </a:prstGeom>
        </p:spPr>
      </p:pic>
      <p:pic>
        <p:nvPicPr>
          <p:cNvPr id="35" name="Picture 34">
            <a:extLst>
              <a:ext uri="{FF2B5EF4-FFF2-40B4-BE49-F238E27FC236}">
                <a16:creationId xmlns:a16="http://schemas.microsoft.com/office/drawing/2014/main" id="{1B9E5CB7-5308-6105-B7DA-33451F1DD7D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9879838" y="1362748"/>
            <a:ext cx="1603251" cy="1603251"/>
          </a:xfrm>
          <a:prstGeom prst="ellipse">
            <a:avLst/>
          </a:prstGeom>
        </p:spPr>
      </p:pic>
    </p:spTree>
    <p:extLst>
      <p:ext uri="{BB962C8B-B14F-4D97-AF65-F5344CB8AC3E}">
        <p14:creationId xmlns:p14="http://schemas.microsoft.com/office/powerpoint/2010/main" val="323425993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ircl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24488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7842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23574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506563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90115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83469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89201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8674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ircl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84415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291412"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75271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443379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881054"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434235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702343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6470696"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693199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9613081"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9060339"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9521641"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5648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37312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28168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3551682"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3460242"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790879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781735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9666012-D5CA-6C32-71FB-2964CBE18EA3}"/>
              </a:ext>
            </a:extLst>
          </p:cNvPr>
          <p:cNvSpPr>
            <a:spLocks noChangeAspect="1"/>
          </p:cNvSpPr>
          <p:nvPr userDrawn="1"/>
        </p:nvSpPr>
        <p:spPr>
          <a:xfrm>
            <a:off x="1008735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5</a:t>
            </a:r>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32" name="Straight Connector 31">
            <a:extLst>
              <a:ext uri="{FF2B5EF4-FFF2-40B4-BE49-F238E27FC236}">
                <a16:creationId xmlns:a16="http://schemas.microsoft.com/office/drawing/2014/main" id="{DDCD6415-B3BB-A9A4-7D70-A1D58E6730DD}"/>
              </a:ext>
            </a:extLst>
          </p:cNvPr>
          <p:cNvCxnSpPr>
            <a:cxnSpLocks/>
          </p:cNvCxnSpPr>
          <p:nvPr userDrawn="1"/>
        </p:nvCxnSpPr>
        <p:spPr>
          <a:xfrm>
            <a:off x="999591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331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14483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1202508"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86740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2</a:t>
            </a:r>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2116908"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1</a:t>
            </a:r>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962762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3</a:t>
            </a:r>
          </a:p>
        </p:txBody>
      </p:sp>
      <p:cxnSp>
        <p:nvCxnSpPr>
          <p:cNvPr id="13" name="Straight Connector 12">
            <a:extLst>
              <a:ext uri="{FF2B5EF4-FFF2-40B4-BE49-F238E27FC236}">
                <a16:creationId xmlns:a16="http://schemas.microsoft.com/office/drawing/2014/main" id="{6A25765D-ACEF-715F-7E4D-A68C1BFA2DD9}"/>
              </a:ext>
            </a:extLst>
          </p:cNvPr>
          <p:cNvCxnSpPr>
            <a:stCxn id="7" idx="6"/>
            <a:endCxn id="25" idx="2"/>
          </p:cNvCxnSpPr>
          <p:nvPr userDrawn="1"/>
        </p:nvCxnSpPr>
        <p:spPr>
          <a:xfrm>
            <a:off x="2574108" y="3711915"/>
            <a:ext cx="3293292" cy="0"/>
          </a:xfrm>
          <a:prstGeom prst="line">
            <a:avLst/>
          </a:prstGeom>
          <a:ln w="25400" cap="sq"/>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308A8D2-E977-3D8F-52FF-D20DF2CD568A}"/>
              </a:ext>
            </a:extLst>
          </p:cNvPr>
          <p:cNvCxnSpPr>
            <a:stCxn id="25" idx="6"/>
            <a:endCxn id="22" idx="2"/>
          </p:cNvCxnSpPr>
          <p:nvPr userDrawn="1"/>
        </p:nvCxnSpPr>
        <p:spPr>
          <a:xfrm>
            <a:off x="6324600" y="3711915"/>
            <a:ext cx="3303020" cy="0"/>
          </a:xfrm>
          <a:prstGeom prst="line">
            <a:avLst/>
          </a:prstGeom>
          <a:ln w="25400" cap="sq"/>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370F47DE-4C02-2CFD-9C3C-66C96698C614}"/>
              </a:ext>
            </a:extLst>
          </p:cNvPr>
          <p:cNvSpPr>
            <a:spLocks noGrp="1"/>
          </p:cNvSpPr>
          <p:nvPr>
            <p:ph type="body" sz="quarter" idx="18"/>
          </p:nvPr>
        </p:nvSpPr>
        <p:spPr>
          <a:xfrm>
            <a:off x="1202508"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469D82BB-F286-0712-2FA6-D3D275ED31C4}"/>
              </a:ext>
            </a:extLst>
          </p:cNvPr>
          <p:cNvSpPr>
            <a:spLocks noGrp="1"/>
          </p:cNvSpPr>
          <p:nvPr>
            <p:ph type="body" sz="quarter" idx="19"/>
          </p:nvPr>
        </p:nvSpPr>
        <p:spPr>
          <a:xfrm>
            <a:off x="495300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7F5D9FEC-2077-53B6-966D-FE91C310A318}"/>
              </a:ext>
            </a:extLst>
          </p:cNvPr>
          <p:cNvSpPr>
            <a:spLocks noGrp="1"/>
          </p:cNvSpPr>
          <p:nvPr>
            <p:ph type="body" sz="quarter" idx="20"/>
          </p:nvPr>
        </p:nvSpPr>
        <p:spPr>
          <a:xfrm>
            <a:off x="495300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31" name="Text Placeholder 7">
            <a:extLst>
              <a:ext uri="{FF2B5EF4-FFF2-40B4-BE49-F238E27FC236}">
                <a16:creationId xmlns:a16="http://schemas.microsoft.com/office/drawing/2014/main" id="{0C40B926-F7A9-AEA0-D21E-941E3060CA28}"/>
              </a:ext>
            </a:extLst>
          </p:cNvPr>
          <p:cNvSpPr>
            <a:spLocks noGrp="1"/>
          </p:cNvSpPr>
          <p:nvPr>
            <p:ph type="body" sz="quarter" idx="21"/>
          </p:nvPr>
        </p:nvSpPr>
        <p:spPr>
          <a:xfrm>
            <a:off x="871322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2" name="Text Placeholder 7">
            <a:extLst>
              <a:ext uri="{FF2B5EF4-FFF2-40B4-BE49-F238E27FC236}">
                <a16:creationId xmlns:a16="http://schemas.microsoft.com/office/drawing/2014/main" id="{1AA20646-C4DB-5051-FE4D-CC6B3392F445}"/>
              </a:ext>
            </a:extLst>
          </p:cNvPr>
          <p:cNvSpPr>
            <a:spLocks noGrp="1"/>
          </p:cNvSpPr>
          <p:nvPr>
            <p:ph type="body" sz="quarter" idx="22"/>
          </p:nvPr>
        </p:nvSpPr>
        <p:spPr>
          <a:xfrm>
            <a:off x="871322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Tree>
    <p:extLst>
      <p:ext uri="{BB962C8B-B14F-4D97-AF65-F5344CB8AC3E}">
        <p14:creationId xmlns:p14="http://schemas.microsoft.com/office/powerpoint/2010/main" val="19697176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ards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01AC39-50EF-F537-90B3-A203E16FB12F}"/>
              </a:ext>
            </a:extLst>
          </p:cNvPr>
          <p:cNvSpPr/>
          <p:nvPr userDrawn="1"/>
        </p:nvSpPr>
        <p:spPr>
          <a:xfrm>
            <a:off x="2181429"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6276934"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35453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2985502" y="4260871"/>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408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081007" y="4230300"/>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1067701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362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704956"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4735403"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7765851"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5626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2000738"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5593079"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5031185"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86235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8061633"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5863686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513061"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867314"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6221567"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575820"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061701"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41661"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415954"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4095914"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77020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450167"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24460"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804420" y="4230300"/>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8567830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4724400" y="3607340"/>
            <a:ext cx="27432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49530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0D5519EB-0A28-48E3-336E-75DC0D694BC1}"/>
              </a:ext>
            </a:extLst>
          </p:cNvPr>
          <p:cNvSpPr/>
          <p:nvPr userDrawn="1"/>
        </p:nvSpPr>
        <p:spPr>
          <a:xfrm>
            <a:off x="1981200" y="3607340"/>
            <a:ext cx="27432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9ED7FE08-90C0-A179-06D8-BF78D6660D6B}"/>
              </a:ext>
            </a:extLst>
          </p:cNvPr>
          <p:cNvSpPr>
            <a:spLocks noChangeAspect="1"/>
          </p:cNvSpPr>
          <p:nvPr userDrawn="1"/>
        </p:nvSpPr>
        <p:spPr>
          <a:xfrm>
            <a:off x="30327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3169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22098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0" name="Rectangle 9">
            <a:extLst>
              <a:ext uri="{FF2B5EF4-FFF2-40B4-BE49-F238E27FC236}">
                <a16:creationId xmlns:a16="http://schemas.microsoft.com/office/drawing/2014/main" id="{01670E57-D4BF-1AAD-4F00-CFC172B949EB}"/>
              </a:ext>
            </a:extLst>
          </p:cNvPr>
          <p:cNvSpPr/>
          <p:nvPr userDrawn="1"/>
        </p:nvSpPr>
        <p:spPr>
          <a:xfrm>
            <a:off x="7467600" y="3607340"/>
            <a:ext cx="27432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946952C5-3B30-5CF7-91B9-D5BCBE89A1F5}"/>
              </a:ext>
            </a:extLst>
          </p:cNvPr>
          <p:cNvSpPr>
            <a:spLocks noChangeAspect="1"/>
          </p:cNvSpPr>
          <p:nvPr userDrawn="1"/>
        </p:nvSpPr>
        <p:spPr>
          <a:xfrm>
            <a:off x="85191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8656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mj-lt"/>
              </a:rPr>
              <a:t>3</a:t>
            </a:r>
          </a:p>
        </p:txBody>
      </p:sp>
      <p:sp>
        <p:nvSpPr>
          <p:cNvPr id="27" name="Text Placeholder 7">
            <a:extLst>
              <a:ext uri="{FF2B5EF4-FFF2-40B4-BE49-F238E27FC236}">
                <a16:creationId xmlns:a16="http://schemas.microsoft.com/office/drawing/2014/main" id="{F722B445-20C8-72DC-28DD-41B92ED25975}"/>
              </a:ext>
            </a:extLst>
          </p:cNvPr>
          <p:cNvSpPr>
            <a:spLocks noGrp="1"/>
          </p:cNvSpPr>
          <p:nvPr>
            <p:ph type="body" sz="quarter" idx="18"/>
          </p:nvPr>
        </p:nvSpPr>
        <p:spPr>
          <a:xfrm>
            <a:off x="76962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204600555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in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grpSp>
        <p:nvGrpSpPr>
          <p:cNvPr id="15" name="Group 14">
            <a:extLst>
              <a:ext uri="{FF2B5EF4-FFF2-40B4-BE49-F238E27FC236}">
                <a16:creationId xmlns:a16="http://schemas.microsoft.com/office/drawing/2014/main" id="{85A7E188-33E4-E269-6434-F2D1705D22DB}"/>
              </a:ext>
            </a:extLst>
          </p:cNvPr>
          <p:cNvGrpSpPr/>
          <p:nvPr userDrawn="1"/>
        </p:nvGrpSpPr>
        <p:grpSpPr>
          <a:xfrm>
            <a:off x="1419225" y="3355880"/>
            <a:ext cx="2286000" cy="640080"/>
            <a:chOff x="987032" y="3279680"/>
            <a:chExt cx="2286000" cy="64008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987032" y="3531140"/>
              <a:ext cx="228600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1809992" y="32796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1947152" y="34168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grpSp>
      <p:sp>
        <p:nvSpPr>
          <p:cNvPr id="16" name="Text Placeholder 7">
            <a:extLst>
              <a:ext uri="{FF2B5EF4-FFF2-40B4-BE49-F238E27FC236}">
                <a16:creationId xmlns:a16="http://schemas.microsoft.com/office/drawing/2014/main" id="{3952704B-368A-DE61-E747-1D4BBC4F42AA}"/>
              </a:ext>
            </a:extLst>
          </p:cNvPr>
          <p:cNvSpPr>
            <a:spLocks noGrp="1"/>
          </p:cNvSpPr>
          <p:nvPr>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07340"/>
            <a:ext cx="2286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07340"/>
            <a:ext cx="22860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07340"/>
            <a:ext cx="22860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9471534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in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524000" y="3607340"/>
            <a:ext cx="18288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183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2555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068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352800" y="3607340"/>
            <a:ext cx="182880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3947160" y="3355880"/>
            <a:ext cx="640080" cy="6400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084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5"/>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5356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181600" y="3607340"/>
            <a:ext cx="18288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53644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7010400" y="3607340"/>
            <a:ext cx="1828800" cy="137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04760" y="3355880"/>
            <a:ext cx="640080" cy="6400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7741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4"/>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1932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DBED0348-A68C-3BDC-02EA-4ED68BECD2DE}"/>
              </a:ext>
            </a:extLst>
          </p:cNvPr>
          <p:cNvSpPr/>
          <p:nvPr userDrawn="1"/>
        </p:nvSpPr>
        <p:spPr>
          <a:xfrm>
            <a:off x="8839200" y="3607340"/>
            <a:ext cx="18288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1338211E-99BC-FE47-9AE9-9E41D33AB903}"/>
              </a:ext>
            </a:extLst>
          </p:cNvPr>
          <p:cNvSpPr>
            <a:spLocks noChangeAspect="1"/>
          </p:cNvSpPr>
          <p:nvPr userDrawn="1"/>
        </p:nvSpPr>
        <p:spPr>
          <a:xfrm>
            <a:off x="94335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C1439478-20CF-1415-E111-393134249855}"/>
              </a:ext>
            </a:extLst>
          </p:cNvPr>
          <p:cNvSpPr>
            <a:spLocks noChangeAspect="1"/>
          </p:cNvSpPr>
          <p:nvPr userDrawn="1"/>
        </p:nvSpPr>
        <p:spPr>
          <a:xfrm>
            <a:off x="95707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5</a:t>
            </a:r>
          </a:p>
        </p:txBody>
      </p:sp>
      <p:sp>
        <p:nvSpPr>
          <p:cNvPr id="8" name="Text Placeholder 7">
            <a:extLst>
              <a:ext uri="{FF2B5EF4-FFF2-40B4-BE49-F238E27FC236}">
                <a16:creationId xmlns:a16="http://schemas.microsoft.com/office/drawing/2014/main" id="{E1CC260C-504F-6E41-D1D8-20EAE6CE1A0B}"/>
              </a:ext>
            </a:extLst>
          </p:cNvPr>
          <p:cNvSpPr>
            <a:spLocks noGrp="1"/>
          </p:cNvSpPr>
          <p:nvPr userDrawn="1">
            <p:ph type="body" sz="quarter" idx="18"/>
          </p:nvPr>
        </p:nvSpPr>
        <p:spPr>
          <a:xfrm>
            <a:off x="90220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15713437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rategy Bloc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8474771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trategy Blocks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439159"/>
            <a:ext cx="2286000" cy="18338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05025" y="29923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00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7195378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trategy Block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3705225" y="3439159"/>
            <a:ext cx="2286000" cy="18338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4391025" y="29923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4586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2</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3937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170305270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trategy 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5991225" y="3439159"/>
            <a:ext cx="2286000" cy="18338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6677025" y="2992357"/>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6872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3"/>
                </a:solidFill>
                <a:latin typeface="+mj-lt"/>
              </a:rPr>
              <a:t>3</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223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9780912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rategy Block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8241000" y="3439159"/>
            <a:ext cx="2286000" cy="1833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8926800" y="2992357"/>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9122743"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2"/>
                </a:solidFill>
                <a:latin typeface="+mj-lt"/>
              </a:rPr>
              <a:t>4</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8473168"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5955000"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6777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6915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6187168"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17224271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Tree>
    <p:extLst>
      <p:ext uri="{BB962C8B-B14F-4D97-AF65-F5344CB8AC3E}">
        <p14:creationId xmlns:p14="http://schemas.microsoft.com/office/powerpoint/2010/main" val="165877966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Half Strategy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27" name="Rectangle 26">
            <a:extLst>
              <a:ext uri="{FF2B5EF4-FFF2-40B4-BE49-F238E27FC236}">
                <a16:creationId xmlns:a16="http://schemas.microsoft.com/office/drawing/2014/main" id="{BD0D187D-D5D2-A70E-176B-B363136D674D}"/>
              </a:ext>
            </a:extLst>
          </p:cNvPr>
          <p:cNvSpPr/>
          <p:nvPr userDrawn="1"/>
        </p:nvSpPr>
        <p:spPr>
          <a:xfrm rot="5400000">
            <a:off x="6862995" y="2838309"/>
            <a:ext cx="957091"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36462BB9-1B94-41BC-9D24-C82FC55A39F6}"/>
              </a:ext>
            </a:extLst>
          </p:cNvPr>
          <p:cNvGrpSpPr/>
          <p:nvPr userDrawn="1"/>
        </p:nvGrpSpPr>
        <p:grpSpPr>
          <a:xfrm>
            <a:off x="7021500" y="1816733"/>
            <a:ext cx="640080" cy="640080"/>
            <a:chOff x="7021500" y="1816733"/>
            <a:chExt cx="640080" cy="640080"/>
          </a:xfrm>
        </p:grpSpPr>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1816733"/>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189815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1</a:t>
              </a:r>
            </a:p>
          </p:txBody>
        </p:sp>
      </p:grpSp>
      <p:sp>
        <p:nvSpPr>
          <p:cNvPr id="35" name="Rectangle 34">
            <a:extLst>
              <a:ext uri="{FF2B5EF4-FFF2-40B4-BE49-F238E27FC236}">
                <a16:creationId xmlns:a16="http://schemas.microsoft.com/office/drawing/2014/main" id="{820886A3-3CCA-33EB-B2EE-013BA48AF37F}"/>
              </a:ext>
            </a:extLst>
          </p:cNvPr>
          <p:cNvSpPr/>
          <p:nvPr userDrawn="1"/>
        </p:nvSpPr>
        <p:spPr>
          <a:xfrm rot="5400000">
            <a:off x="6863312" y="4340859"/>
            <a:ext cx="956427"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4D667E34-3D8B-8435-A7BF-03557F727A21}"/>
              </a:ext>
            </a:extLst>
          </p:cNvPr>
          <p:cNvGrpSpPr/>
          <p:nvPr userDrawn="1"/>
        </p:nvGrpSpPr>
        <p:grpSpPr>
          <a:xfrm>
            <a:off x="7021485" y="3325493"/>
            <a:ext cx="640080" cy="640080"/>
            <a:chOff x="7021485" y="3775916"/>
            <a:chExt cx="640080" cy="640080"/>
          </a:xfrm>
        </p:grpSpPr>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2</a:t>
              </a:r>
            </a:p>
          </p:txBody>
        </p:sp>
      </p:grpSp>
      <p:grpSp>
        <p:nvGrpSpPr>
          <p:cNvPr id="7" name="Group 6">
            <a:extLst>
              <a:ext uri="{FF2B5EF4-FFF2-40B4-BE49-F238E27FC236}">
                <a16:creationId xmlns:a16="http://schemas.microsoft.com/office/drawing/2014/main" id="{3B82EDB9-4BD3-C3DE-04A3-0A2836A763B2}"/>
              </a:ext>
            </a:extLst>
          </p:cNvPr>
          <p:cNvGrpSpPr/>
          <p:nvPr userDrawn="1"/>
        </p:nvGrpSpPr>
        <p:grpSpPr>
          <a:xfrm>
            <a:off x="7021485" y="4834253"/>
            <a:ext cx="640080" cy="640080"/>
            <a:chOff x="7021485" y="4834253"/>
            <a:chExt cx="640080" cy="640080"/>
          </a:xfrm>
        </p:grpSpPr>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3</a:t>
              </a:r>
            </a:p>
          </p:txBody>
        </p:sp>
      </p:gr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1946039"/>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455781"/>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18668543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alf Strategy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7915309" y="1794618"/>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12" name="Rectangle 11">
            <a:extLst>
              <a:ext uri="{FF2B5EF4-FFF2-40B4-BE49-F238E27FC236}">
                <a16:creationId xmlns:a16="http://schemas.microsoft.com/office/drawing/2014/main" id="{4B4BEC70-7E02-9579-75E9-E3F9A2AEF385}"/>
              </a:ext>
            </a:extLst>
          </p:cNvPr>
          <p:cNvSpPr/>
          <p:nvPr userDrawn="1"/>
        </p:nvSpPr>
        <p:spPr>
          <a:xfrm rot="5400000">
            <a:off x="7092128" y="2443203"/>
            <a:ext cx="498826" cy="972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7021500" y="1659244"/>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7102924" y="1740668"/>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latin typeface="+mj-lt"/>
              </a:rPr>
              <a:t>1</a:t>
            </a:r>
          </a:p>
        </p:txBody>
      </p:sp>
      <p:sp>
        <p:nvSpPr>
          <p:cNvPr id="27" name="Rectangle 26">
            <a:extLst>
              <a:ext uri="{FF2B5EF4-FFF2-40B4-BE49-F238E27FC236}">
                <a16:creationId xmlns:a16="http://schemas.microsoft.com/office/drawing/2014/main" id="{BD0D187D-D5D2-A70E-176B-B363136D674D}"/>
              </a:ext>
            </a:extLst>
          </p:cNvPr>
          <p:cNvSpPr/>
          <p:nvPr userDrawn="1"/>
        </p:nvSpPr>
        <p:spPr>
          <a:xfrm rot="5400000">
            <a:off x="7087896" y="3505771"/>
            <a:ext cx="507290"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27175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2799004"/>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2</a:t>
            </a:r>
          </a:p>
        </p:txBody>
      </p:sp>
      <p:sp>
        <p:nvSpPr>
          <p:cNvPr id="35" name="Rectangle 34">
            <a:extLst>
              <a:ext uri="{FF2B5EF4-FFF2-40B4-BE49-F238E27FC236}">
                <a16:creationId xmlns:a16="http://schemas.microsoft.com/office/drawing/2014/main" id="{820886A3-3CCA-33EB-B2EE-013BA48AF37F}"/>
              </a:ext>
            </a:extLst>
          </p:cNvPr>
          <p:cNvSpPr/>
          <p:nvPr userDrawn="1"/>
        </p:nvSpPr>
        <p:spPr>
          <a:xfrm rot="5400000">
            <a:off x="7087221" y="4564767"/>
            <a:ext cx="508610"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3</a:t>
            </a:r>
          </a:p>
        </p:txBody>
      </p:sp>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4</a:t>
            </a:r>
          </a:p>
        </p:txBody>
      </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2852954"/>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911290"/>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33946771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alf Parts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71340"/>
            <a:ext cx="6096000" cy="69293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5637276"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2065388"/>
            <a:ext cx="4364476" cy="584775"/>
          </a:xfrm>
          <a:prstGeom prst="rect">
            <a:avLst/>
          </a:prstGeom>
        </p:spPr>
        <p:txBody>
          <a:bodyPr wrap="square">
            <a:spAutoFit/>
          </a:bodyPr>
          <a:lstStyle>
            <a:lvl1pPr marL="0" indent="0" algn="l">
              <a:lnSpc>
                <a:spcPct val="100000"/>
              </a:lnSpc>
              <a:spcBef>
                <a:spcPts val="0"/>
              </a:spcBef>
              <a:buNone/>
              <a:defRPr sz="3200" b="1">
                <a:solidFill>
                  <a:schemeClr val="bg1"/>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750588" y="1794618"/>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cxnSp>
        <p:nvCxnSpPr>
          <p:cNvPr id="4" name="Straight Connector 3">
            <a:extLst>
              <a:ext uri="{FF2B5EF4-FFF2-40B4-BE49-F238E27FC236}">
                <a16:creationId xmlns:a16="http://schemas.microsoft.com/office/drawing/2014/main" id="{B6B40C76-3F58-2EBC-81E1-360B2A80DFF6}"/>
              </a:ext>
            </a:extLst>
          </p:cNvPr>
          <p:cNvCxnSpPr>
            <a:cxnSpLocks/>
          </p:cNvCxnSpPr>
          <p:nvPr userDrawn="1"/>
        </p:nvCxnSpPr>
        <p:spPr>
          <a:xfrm>
            <a:off x="6096000" y="731520"/>
            <a:ext cx="563727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FC69D76-5279-ECCC-CCE4-79354438BDB5}"/>
              </a:ext>
            </a:extLst>
          </p:cNvPr>
          <p:cNvSpPr>
            <a:spLocks noGrp="1"/>
          </p:cNvSpPr>
          <p:nvPr>
            <p:ph type="body" sz="quarter" idx="18"/>
          </p:nvPr>
        </p:nvSpPr>
        <p:spPr>
          <a:xfrm>
            <a:off x="865762" y="1594563"/>
            <a:ext cx="4364476" cy="400110"/>
          </a:xfrm>
          <a:prstGeom prst="rect">
            <a:avLst/>
          </a:prstGeom>
        </p:spPr>
        <p:txBody>
          <a:bodyPr wrap="square">
            <a:spAutoFit/>
          </a:bodyPr>
          <a:lstStyle>
            <a:lvl1pPr marL="0" indent="0" algn="l">
              <a:lnSpc>
                <a:spcPct val="100000"/>
              </a:lnSpc>
              <a:spcBef>
                <a:spcPts val="0"/>
              </a:spcBef>
              <a:buNone/>
              <a:defRPr sz="2000" b="1">
                <a:solidFill>
                  <a:schemeClr val="accent2"/>
                </a:solidFill>
                <a:latin typeface="+mj-lt"/>
              </a:defRPr>
            </a:lvl1pPr>
          </a:lstStyle>
          <a:p>
            <a:pPr lvl="0"/>
            <a:endParaRPr lang="en-US"/>
          </a:p>
        </p:txBody>
      </p:sp>
      <p:sp>
        <p:nvSpPr>
          <p:cNvPr id="11" name="Rectangle: Rounded Corners 10">
            <a:extLst>
              <a:ext uri="{FF2B5EF4-FFF2-40B4-BE49-F238E27FC236}">
                <a16:creationId xmlns:a16="http://schemas.microsoft.com/office/drawing/2014/main" id="{5AB949BC-78B6-7A97-06FD-1A05AA5A4F5F}"/>
              </a:ext>
            </a:extLst>
          </p:cNvPr>
          <p:cNvSpPr/>
          <p:nvPr userDrawn="1"/>
        </p:nvSpPr>
        <p:spPr>
          <a:xfrm>
            <a:off x="6828409" y="1390182"/>
            <a:ext cx="996412" cy="3463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One</a:t>
            </a:r>
          </a:p>
        </p:txBody>
      </p:sp>
      <p:sp>
        <p:nvSpPr>
          <p:cNvPr id="17" name="Text Placeholder 7">
            <a:extLst>
              <a:ext uri="{FF2B5EF4-FFF2-40B4-BE49-F238E27FC236}">
                <a16:creationId xmlns:a16="http://schemas.microsoft.com/office/drawing/2014/main" id="{CED1B20A-FC75-6760-9BC5-48562491CF9E}"/>
              </a:ext>
            </a:extLst>
          </p:cNvPr>
          <p:cNvSpPr>
            <a:spLocks noGrp="1"/>
          </p:cNvSpPr>
          <p:nvPr>
            <p:ph type="body" sz="quarter" idx="19"/>
          </p:nvPr>
        </p:nvSpPr>
        <p:spPr>
          <a:xfrm>
            <a:off x="6750588" y="331665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18" name="Rectangle: Rounded Corners 17">
            <a:extLst>
              <a:ext uri="{FF2B5EF4-FFF2-40B4-BE49-F238E27FC236}">
                <a16:creationId xmlns:a16="http://schemas.microsoft.com/office/drawing/2014/main" id="{F8D5C1C1-F6FB-9AA3-A214-DC766DB82544}"/>
              </a:ext>
            </a:extLst>
          </p:cNvPr>
          <p:cNvSpPr/>
          <p:nvPr userDrawn="1"/>
        </p:nvSpPr>
        <p:spPr>
          <a:xfrm>
            <a:off x="6828409" y="2912220"/>
            <a:ext cx="996412" cy="34635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wo</a:t>
            </a:r>
          </a:p>
        </p:txBody>
      </p:sp>
      <p:sp>
        <p:nvSpPr>
          <p:cNvPr id="19" name="Text Placeholder 7">
            <a:extLst>
              <a:ext uri="{FF2B5EF4-FFF2-40B4-BE49-F238E27FC236}">
                <a16:creationId xmlns:a16="http://schemas.microsoft.com/office/drawing/2014/main" id="{78B71EFF-3361-06F3-0D3C-58C7704130AF}"/>
              </a:ext>
            </a:extLst>
          </p:cNvPr>
          <p:cNvSpPr>
            <a:spLocks noGrp="1"/>
          </p:cNvSpPr>
          <p:nvPr>
            <p:ph type="body" sz="quarter" idx="20"/>
          </p:nvPr>
        </p:nvSpPr>
        <p:spPr>
          <a:xfrm>
            <a:off x="6750588" y="487871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20" name="Rectangle: Rounded Corners 19">
            <a:extLst>
              <a:ext uri="{FF2B5EF4-FFF2-40B4-BE49-F238E27FC236}">
                <a16:creationId xmlns:a16="http://schemas.microsoft.com/office/drawing/2014/main" id="{BD376073-0EFD-CECD-41ED-C35EF9D43844}"/>
              </a:ext>
            </a:extLst>
          </p:cNvPr>
          <p:cNvSpPr/>
          <p:nvPr userDrawn="1"/>
        </p:nvSpPr>
        <p:spPr>
          <a:xfrm>
            <a:off x="6828409" y="4474280"/>
            <a:ext cx="996412" cy="34635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hree</a:t>
            </a:r>
          </a:p>
        </p:txBody>
      </p:sp>
    </p:spTree>
    <p:extLst>
      <p:ext uri="{BB962C8B-B14F-4D97-AF65-F5344CB8AC3E}">
        <p14:creationId xmlns:p14="http://schemas.microsoft.com/office/powerpoint/2010/main" val="5885906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790406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812534"/>
            <a:ext cx="4364476" cy="338554"/>
          </a:xfrm>
          <a:prstGeom prst="rect">
            <a:avLst/>
          </a:prstGeom>
        </p:spPr>
        <p:txBody>
          <a:bodyPr wrap="square" anchor="t" anchorCtr="0">
            <a:spAutoFit/>
          </a:bodyPr>
          <a:lstStyle>
            <a:lvl1pPr marL="0" indent="0" algn="l">
              <a:lnSpc>
                <a:spcPct val="100000"/>
              </a:lnSpc>
              <a:spcBef>
                <a:spcPts val="0"/>
              </a:spcBef>
              <a:buNone/>
              <a:defRPr sz="16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
        <p:nvSpPr>
          <p:cNvPr id="2" name="Rectangle 1">
            <a:extLst>
              <a:ext uri="{FF2B5EF4-FFF2-40B4-BE49-F238E27FC236}">
                <a16:creationId xmlns:a16="http://schemas.microsoft.com/office/drawing/2014/main" id="{48560333-1FD5-3D91-F24C-0EC1C3428C69}"/>
              </a:ext>
            </a:extLst>
          </p:cNvPr>
          <p:cNvSpPr/>
          <p:nvPr userDrawn="1"/>
        </p:nvSpPr>
        <p:spPr>
          <a:xfrm>
            <a:off x="0" y="4218112"/>
            <a:ext cx="6096000" cy="2639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7">
            <a:extLst>
              <a:ext uri="{FF2B5EF4-FFF2-40B4-BE49-F238E27FC236}">
                <a16:creationId xmlns:a16="http://schemas.microsoft.com/office/drawing/2014/main" id="{79B1A5AD-E1CF-D826-29DE-10FE11A6EAE2}"/>
              </a:ext>
            </a:extLst>
          </p:cNvPr>
          <p:cNvSpPr>
            <a:spLocks noGrp="1"/>
          </p:cNvSpPr>
          <p:nvPr>
            <p:ph type="body" sz="quarter" idx="19"/>
          </p:nvPr>
        </p:nvSpPr>
        <p:spPr>
          <a:xfrm>
            <a:off x="560264"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7" name="Text Placeholder 7">
            <a:extLst>
              <a:ext uri="{FF2B5EF4-FFF2-40B4-BE49-F238E27FC236}">
                <a16:creationId xmlns:a16="http://schemas.microsoft.com/office/drawing/2014/main" id="{7F1A33B8-DA79-66AD-4075-029620EB7805}"/>
              </a:ext>
            </a:extLst>
          </p:cNvPr>
          <p:cNvSpPr>
            <a:spLocks noGrp="1"/>
          </p:cNvSpPr>
          <p:nvPr>
            <p:ph type="body" sz="quarter" idx="20"/>
          </p:nvPr>
        </p:nvSpPr>
        <p:spPr>
          <a:xfrm>
            <a:off x="45713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7" name="Text Placeholder 7">
            <a:extLst>
              <a:ext uri="{FF2B5EF4-FFF2-40B4-BE49-F238E27FC236}">
                <a16:creationId xmlns:a16="http://schemas.microsoft.com/office/drawing/2014/main" id="{296A4797-99E8-955A-A4A2-6E5E26A8F3B8}"/>
              </a:ext>
            </a:extLst>
          </p:cNvPr>
          <p:cNvSpPr>
            <a:spLocks noGrp="1"/>
          </p:cNvSpPr>
          <p:nvPr>
            <p:ph type="body" sz="quarter" idx="24"/>
          </p:nvPr>
        </p:nvSpPr>
        <p:spPr>
          <a:xfrm>
            <a:off x="416485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8" name="Text Placeholder 7">
            <a:extLst>
              <a:ext uri="{FF2B5EF4-FFF2-40B4-BE49-F238E27FC236}">
                <a16:creationId xmlns:a16="http://schemas.microsoft.com/office/drawing/2014/main" id="{5689A97D-6AA7-A6E9-8332-8E6EEC5E0910}"/>
              </a:ext>
            </a:extLst>
          </p:cNvPr>
          <p:cNvSpPr>
            <a:spLocks noGrp="1"/>
          </p:cNvSpPr>
          <p:nvPr>
            <p:ph type="body" sz="quarter" idx="25"/>
          </p:nvPr>
        </p:nvSpPr>
        <p:spPr>
          <a:xfrm>
            <a:off x="426798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19" name="Text Placeholder 7">
            <a:extLst>
              <a:ext uri="{FF2B5EF4-FFF2-40B4-BE49-F238E27FC236}">
                <a16:creationId xmlns:a16="http://schemas.microsoft.com/office/drawing/2014/main" id="{2F7C3C95-1419-EBCA-6318-90CBF363970F}"/>
              </a:ext>
            </a:extLst>
          </p:cNvPr>
          <p:cNvSpPr>
            <a:spLocks noGrp="1"/>
          </p:cNvSpPr>
          <p:nvPr>
            <p:ph type="body" sz="quarter" idx="26"/>
          </p:nvPr>
        </p:nvSpPr>
        <p:spPr>
          <a:xfrm>
            <a:off x="230806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20" name="Text Placeholder 7">
            <a:extLst>
              <a:ext uri="{FF2B5EF4-FFF2-40B4-BE49-F238E27FC236}">
                <a16:creationId xmlns:a16="http://schemas.microsoft.com/office/drawing/2014/main" id="{E056A348-DCC8-C650-DD74-D71018FC8F04}"/>
              </a:ext>
            </a:extLst>
          </p:cNvPr>
          <p:cNvSpPr>
            <a:spLocks noGrp="1"/>
          </p:cNvSpPr>
          <p:nvPr>
            <p:ph type="body" sz="quarter" idx="27"/>
          </p:nvPr>
        </p:nvSpPr>
        <p:spPr>
          <a:xfrm>
            <a:off x="241119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Tree>
    <p:extLst>
      <p:ext uri="{BB962C8B-B14F-4D97-AF65-F5344CB8AC3E}">
        <p14:creationId xmlns:p14="http://schemas.microsoft.com/office/powerpoint/2010/main" val="8377305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277904"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1277904" y="3036292"/>
            <a:ext cx="2970277"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1544798"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1517893"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0" name="Rectangle 9">
            <a:extLst>
              <a:ext uri="{FF2B5EF4-FFF2-40B4-BE49-F238E27FC236}">
                <a16:creationId xmlns:a16="http://schemas.microsoft.com/office/drawing/2014/main" id="{6E3D3E23-32AA-DE51-6F5A-20E45483333C}"/>
              </a:ext>
            </a:extLst>
          </p:cNvPr>
          <p:cNvSpPr/>
          <p:nvPr userDrawn="1"/>
        </p:nvSpPr>
        <p:spPr>
          <a:xfrm>
            <a:off x="4610861"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E575460-E652-2D83-01C3-BF0474493CB6}"/>
              </a:ext>
            </a:extLst>
          </p:cNvPr>
          <p:cNvSpPr/>
          <p:nvPr userDrawn="1"/>
        </p:nvSpPr>
        <p:spPr>
          <a:xfrm>
            <a:off x="4610861" y="3036292"/>
            <a:ext cx="2970277"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7">
            <a:extLst>
              <a:ext uri="{FF2B5EF4-FFF2-40B4-BE49-F238E27FC236}">
                <a16:creationId xmlns:a16="http://schemas.microsoft.com/office/drawing/2014/main" id="{F47A482C-5B81-E3D6-154E-BF9B45CDF02E}"/>
              </a:ext>
            </a:extLst>
          </p:cNvPr>
          <p:cNvSpPr>
            <a:spLocks noGrp="1"/>
          </p:cNvSpPr>
          <p:nvPr>
            <p:ph type="body" sz="quarter" idx="16"/>
          </p:nvPr>
        </p:nvSpPr>
        <p:spPr>
          <a:xfrm>
            <a:off x="4877755"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0C5054D3-4D66-B0E0-1A91-47F28B3D7ECD}"/>
              </a:ext>
            </a:extLst>
          </p:cNvPr>
          <p:cNvSpPr>
            <a:spLocks noGrp="1"/>
          </p:cNvSpPr>
          <p:nvPr>
            <p:ph type="body" sz="quarter" idx="17"/>
          </p:nvPr>
        </p:nvSpPr>
        <p:spPr>
          <a:xfrm>
            <a:off x="4850850"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5" name="Rectangle 14">
            <a:extLst>
              <a:ext uri="{FF2B5EF4-FFF2-40B4-BE49-F238E27FC236}">
                <a16:creationId xmlns:a16="http://schemas.microsoft.com/office/drawing/2014/main" id="{3F5DAF09-56FD-332F-0E73-565A8F27A8EA}"/>
              </a:ext>
            </a:extLst>
          </p:cNvPr>
          <p:cNvSpPr/>
          <p:nvPr userDrawn="1"/>
        </p:nvSpPr>
        <p:spPr>
          <a:xfrm>
            <a:off x="7943819"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B27FFB5-95AD-34D3-6537-CC41516AD206}"/>
              </a:ext>
            </a:extLst>
          </p:cNvPr>
          <p:cNvSpPr/>
          <p:nvPr userDrawn="1"/>
        </p:nvSpPr>
        <p:spPr>
          <a:xfrm>
            <a:off x="7943819" y="3036292"/>
            <a:ext cx="2970277"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7">
            <a:extLst>
              <a:ext uri="{FF2B5EF4-FFF2-40B4-BE49-F238E27FC236}">
                <a16:creationId xmlns:a16="http://schemas.microsoft.com/office/drawing/2014/main" id="{F2F8824C-9CAB-131A-DE2A-AE4832A795AB}"/>
              </a:ext>
            </a:extLst>
          </p:cNvPr>
          <p:cNvSpPr>
            <a:spLocks noGrp="1"/>
          </p:cNvSpPr>
          <p:nvPr>
            <p:ph type="body" sz="quarter" idx="18"/>
          </p:nvPr>
        </p:nvSpPr>
        <p:spPr>
          <a:xfrm>
            <a:off x="8210713"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85BE3C48-B8A0-D8BD-F575-9D99340A862D}"/>
              </a:ext>
            </a:extLst>
          </p:cNvPr>
          <p:cNvSpPr>
            <a:spLocks noGrp="1"/>
          </p:cNvSpPr>
          <p:nvPr>
            <p:ph type="body" sz="quarter" idx="19"/>
          </p:nvPr>
        </p:nvSpPr>
        <p:spPr>
          <a:xfrm>
            <a:off x="8183808"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21" name="Picture Placeholder 20">
            <a:extLst>
              <a:ext uri="{FF2B5EF4-FFF2-40B4-BE49-F238E27FC236}">
                <a16:creationId xmlns:a16="http://schemas.microsoft.com/office/drawing/2014/main" id="{1CA8DDE7-587C-F513-9393-12B07FF5433F}"/>
              </a:ext>
            </a:extLst>
          </p:cNvPr>
          <p:cNvSpPr>
            <a:spLocks noGrp="1"/>
          </p:cNvSpPr>
          <p:nvPr>
            <p:ph type="pic" sz="quarter" idx="20"/>
          </p:nvPr>
        </p:nvSpPr>
        <p:spPr>
          <a:xfrm>
            <a:off x="1277938" y="1210004"/>
            <a:ext cx="2970212" cy="1828800"/>
          </a:xfrm>
          <a:prstGeom prst="rect">
            <a:avLst/>
          </a:prstGeom>
        </p:spPr>
        <p:txBody>
          <a:bodyPr/>
          <a:lstStyle/>
          <a:p>
            <a:endParaRPr lang="en-US" dirty="0"/>
          </a:p>
        </p:txBody>
      </p:sp>
      <p:sp>
        <p:nvSpPr>
          <p:cNvPr id="22" name="Picture Placeholder 20">
            <a:extLst>
              <a:ext uri="{FF2B5EF4-FFF2-40B4-BE49-F238E27FC236}">
                <a16:creationId xmlns:a16="http://schemas.microsoft.com/office/drawing/2014/main" id="{34F27FC6-05F6-3590-A12A-885B7C83BCB0}"/>
              </a:ext>
            </a:extLst>
          </p:cNvPr>
          <p:cNvSpPr>
            <a:spLocks noGrp="1"/>
          </p:cNvSpPr>
          <p:nvPr>
            <p:ph type="pic" sz="quarter" idx="21"/>
          </p:nvPr>
        </p:nvSpPr>
        <p:spPr>
          <a:xfrm>
            <a:off x="4610926" y="1210004"/>
            <a:ext cx="2970212" cy="1828800"/>
          </a:xfrm>
          <a:prstGeom prst="rect">
            <a:avLst/>
          </a:prstGeom>
        </p:spPr>
        <p:txBody>
          <a:bodyPr/>
          <a:lstStyle/>
          <a:p>
            <a:endParaRPr lang="en-US" dirty="0"/>
          </a:p>
        </p:txBody>
      </p:sp>
      <p:sp>
        <p:nvSpPr>
          <p:cNvPr id="23" name="Picture Placeholder 20">
            <a:extLst>
              <a:ext uri="{FF2B5EF4-FFF2-40B4-BE49-F238E27FC236}">
                <a16:creationId xmlns:a16="http://schemas.microsoft.com/office/drawing/2014/main" id="{6662E003-83C4-5AAC-D61C-DA4FDFDA54F9}"/>
              </a:ext>
            </a:extLst>
          </p:cNvPr>
          <p:cNvSpPr>
            <a:spLocks noGrp="1"/>
          </p:cNvSpPr>
          <p:nvPr>
            <p:ph type="pic" sz="quarter" idx="22"/>
          </p:nvPr>
        </p:nvSpPr>
        <p:spPr>
          <a:xfrm>
            <a:off x="7943819" y="1210004"/>
            <a:ext cx="2970211" cy="1828800"/>
          </a:xfrm>
          <a:prstGeom prst="rect">
            <a:avLst/>
          </a:prstGeom>
        </p:spPr>
        <p:txBody>
          <a:bodyPr/>
          <a:lstStyle/>
          <a:p>
            <a:endParaRPr lang="en-US" dirty="0"/>
          </a:p>
        </p:txBody>
      </p:sp>
    </p:spTree>
    <p:extLst>
      <p:ext uri="{BB962C8B-B14F-4D97-AF65-F5344CB8AC3E}">
        <p14:creationId xmlns:p14="http://schemas.microsoft.com/office/powerpoint/2010/main" val="14151574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725423"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725423" y="2995017"/>
            <a:ext cx="2446401" cy="7825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1AF0951B-AB25-7F38-17CA-FB08013403C3}"/>
              </a:ext>
            </a:extLst>
          </p:cNvPr>
          <p:cNvSpPr/>
          <p:nvPr userDrawn="1"/>
        </p:nvSpPr>
        <p:spPr>
          <a:xfrm>
            <a:off x="3379851"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234A6D29-1770-B166-4662-ACE950971710}"/>
              </a:ext>
            </a:extLst>
          </p:cNvPr>
          <p:cNvSpPr/>
          <p:nvPr userDrawn="1"/>
        </p:nvSpPr>
        <p:spPr>
          <a:xfrm>
            <a:off x="3379851" y="2995017"/>
            <a:ext cx="2446401"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66374C75-941E-0777-32A1-3D82ED42E1FD}"/>
              </a:ext>
            </a:extLst>
          </p:cNvPr>
          <p:cNvSpPr/>
          <p:nvPr userDrawn="1"/>
        </p:nvSpPr>
        <p:spPr>
          <a:xfrm>
            <a:off x="6096000"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53EDEC89-A0BA-A86D-CE6C-81828F6C029C}"/>
              </a:ext>
            </a:extLst>
          </p:cNvPr>
          <p:cNvSpPr/>
          <p:nvPr userDrawn="1"/>
        </p:nvSpPr>
        <p:spPr>
          <a:xfrm>
            <a:off x="6096000" y="2995017"/>
            <a:ext cx="2446401"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6EF4C9DC-D0F7-1962-7A92-BB1F2F6BFF42}"/>
              </a:ext>
            </a:extLst>
          </p:cNvPr>
          <p:cNvSpPr/>
          <p:nvPr userDrawn="1"/>
        </p:nvSpPr>
        <p:spPr>
          <a:xfrm>
            <a:off x="9020176"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a:extLst>
              <a:ext uri="{FF2B5EF4-FFF2-40B4-BE49-F238E27FC236}">
                <a16:creationId xmlns:a16="http://schemas.microsoft.com/office/drawing/2014/main" id="{497A4B90-3BDB-5CE1-837E-737ADDD33C47}"/>
              </a:ext>
            </a:extLst>
          </p:cNvPr>
          <p:cNvSpPr/>
          <p:nvPr userDrawn="1"/>
        </p:nvSpPr>
        <p:spPr>
          <a:xfrm>
            <a:off x="9020176" y="2995017"/>
            <a:ext cx="2446401"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945244"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923085"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63" name="Text Placeholder 7">
            <a:extLst>
              <a:ext uri="{FF2B5EF4-FFF2-40B4-BE49-F238E27FC236}">
                <a16:creationId xmlns:a16="http://schemas.microsoft.com/office/drawing/2014/main" id="{89A7A8A9-F97D-6A00-6DAD-8F8AF46B9A12}"/>
              </a:ext>
            </a:extLst>
          </p:cNvPr>
          <p:cNvSpPr>
            <a:spLocks noGrp="1"/>
          </p:cNvSpPr>
          <p:nvPr>
            <p:ph type="body" sz="quarter" idx="16"/>
          </p:nvPr>
        </p:nvSpPr>
        <p:spPr>
          <a:xfrm>
            <a:off x="3599672"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4" name="Text Placeholder 7">
            <a:extLst>
              <a:ext uri="{FF2B5EF4-FFF2-40B4-BE49-F238E27FC236}">
                <a16:creationId xmlns:a16="http://schemas.microsoft.com/office/drawing/2014/main" id="{7D08AFF0-523A-0490-3F35-9326651B0C19}"/>
              </a:ext>
            </a:extLst>
          </p:cNvPr>
          <p:cNvSpPr>
            <a:spLocks noGrp="1"/>
          </p:cNvSpPr>
          <p:nvPr>
            <p:ph type="body" sz="quarter" idx="17"/>
          </p:nvPr>
        </p:nvSpPr>
        <p:spPr>
          <a:xfrm>
            <a:off x="3577513"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5" name="Text Placeholder 7">
            <a:extLst>
              <a:ext uri="{FF2B5EF4-FFF2-40B4-BE49-F238E27FC236}">
                <a16:creationId xmlns:a16="http://schemas.microsoft.com/office/drawing/2014/main" id="{488AB44C-201C-AFA4-B04F-F5F452276B7E}"/>
              </a:ext>
            </a:extLst>
          </p:cNvPr>
          <p:cNvSpPr>
            <a:spLocks noGrp="1"/>
          </p:cNvSpPr>
          <p:nvPr>
            <p:ph type="body" sz="quarter" idx="18"/>
          </p:nvPr>
        </p:nvSpPr>
        <p:spPr>
          <a:xfrm>
            <a:off x="6315821"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6" name="Text Placeholder 7">
            <a:extLst>
              <a:ext uri="{FF2B5EF4-FFF2-40B4-BE49-F238E27FC236}">
                <a16:creationId xmlns:a16="http://schemas.microsoft.com/office/drawing/2014/main" id="{D9C06F46-3FFF-4482-4493-BED8117A8D48}"/>
              </a:ext>
            </a:extLst>
          </p:cNvPr>
          <p:cNvSpPr>
            <a:spLocks noGrp="1"/>
          </p:cNvSpPr>
          <p:nvPr>
            <p:ph type="body" sz="quarter" idx="19"/>
          </p:nvPr>
        </p:nvSpPr>
        <p:spPr>
          <a:xfrm>
            <a:off x="6293662"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7" name="Text Placeholder 7">
            <a:extLst>
              <a:ext uri="{FF2B5EF4-FFF2-40B4-BE49-F238E27FC236}">
                <a16:creationId xmlns:a16="http://schemas.microsoft.com/office/drawing/2014/main" id="{2AFB12A2-230F-3B1E-E6F0-A27FEDF46041}"/>
              </a:ext>
            </a:extLst>
          </p:cNvPr>
          <p:cNvSpPr>
            <a:spLocks noGrp="1"/>
          </p:cNvSpPr>
          <p:nvPr>
            <p:ph type="body" sz="quarter" idx="20"/>
          </p:nvPr>
        </p:nvSpPr>
        <p:spPr>
          <a:xfrm>
            <a:off x="9239997"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8" name="Text Placeholder 7">
            <a:extLst>
              <a:ext uri="{FF2B5EF4-FFF2-40B4-BE49-F238E27FC236}">
                <a16:creationId xmlns:a16="http://schemas.microsoft.com/office/drawing/2014/main" id="{A5A0F647-551C-B9E9-7987-3AB0F1D80F6A}"/>
              </a:ext>
            </a:extLst>
          </p:cNvPr>
          <p:cNvSpPr>
            <a:spLocks noGrp="1"/>
          </p:cNvSpPr>
          <p:nvPr>
            <p:ph type="body" sz="quarter" idx="21"/>
          </p:nvPr>
        </p:nvSpPr>
        <p:spPr>
          <a:xfrm>
            <a:off x="9217838"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Tree>
    <p:extLst>
      <p:ext uri="{BB962C8B-B14F-4D97-AF65-F5344CB8AC3E}">
        <p14:creationId xmlns:p14="http://schemas.microsoft.com/office/powerpoint/2010/main" val="16571984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13130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2" name="Oval 1">
            <a:extLst>
              <a:ext uri="{FF2B5EF4-FFF2-40B4-BE49-F238E27FC236}">
                <a16:creationId xmlns:a16="http://schemas.microsoft.com/office/drawing/2014/main" id="{2EF713FC-D296-053E-DC5F-83C78D4D913A}"/>
              </a:ext>
            </a:extLst>
          </p:cNvPr>
          <p:cNvSpPr>
            <a:spLocks noChangeAspect="1"/>
          </p:cNvSpPr>
          <p:nvPr userDrawn="1"/>
        </p:nvSpPr>
        <p:spPr>
          <a:xfrm>
            <a:off x="3377201"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2" name="Oval 11">
            <a:extLst>
              <a:ext uri="{FF2B5EF4-FFF2-40B4-BE49-F238E27FC236}">
                <a16:creationId xmlns:a16="http://schemas.microsoft.com/office/drawing/2014/main" id="{5DCA0A88-4691-6F0E-54E2-05B9D4F37BF9}"/>
              </a:ext>
            </a:extLst>
          </p:cNvPr>
          <p:cNvSpPr>
            <a:spLocks noChangeAspect="1"/>
          </p:cNvSpPr>
          <p:nvPr userDrawn="1"/>
        </p:nvSpPr>
        <p:spPr>
          <a:xfrm>
            <a:off x="5494759"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3" name="Oval 12">
            <a:extLst>
              <a:ext uri="{FF2B5EF4-FFF2-40B4-BE49-F238E27FC236}">
                <a16:creationId xmlns:a16="http://schemas.microsoft.com/office/drawing/2014/main" id="{8DF9D04B-F59C-1ABD-05FA-A8EA3837C244}"/>
              </a:ext>
            </a:extLst>
          </p:cNvPr>
          <p:cNvSpPr>
            <a:spLocks noChangeAspect="1"/>
          </p:cNvSpPr>
          <p:nvPr userDrawn="1"/>
        </p:nvSpPr>
        <p:spPr>
          <a:xfrm>
            <a:off x="769252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6" name="Oval 15">
            <a:extLst>
              <a:ext uri="{FF2B5EF4-FFF2-40B4-BE49-F238E27FC236}">
                <a16:creationId xmlns:a16="http://schemas.microsoft.com/office/drawing/2014/main" id="{6D2494B4-25A7-D573-4DB8-C3E365B58333}"/>
              </a:ext>
            </a:extLst>
          </p:cNvPr>
          <p:cNvSpPr>
            <a:spLocks noChangeAspect="1"/>
          </p:cNvSpPr>
          <p:nvPr userDrawn="1"/>
        </p:nvSpPr>
        <p:spPr>
          <a:xfrm>
            <a:off x="974591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Tree>
    <p:extLst>
      <p:ext uri="{BB962C8B-B14F-4D97-AF65-F5344CB8AC3E}">
        <p14:creationId xmlns:p14="http://schemas.microsoft.com/office/powerpoint/2010/main" val="369405089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Divid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tx2"/>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9037641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Tree>
    <p:extLst>
      <p:ext uri="{BB962C8B-B14F-4D97-AF65-F5344CB8AC3E}">
        <p14:creationId xmlns:p14="http://schemas.microsoft.com/office/powerpoint/2010/main" val="29734484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Squa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09899F6F-FC6D-F86D-2717-17CB462D9B83}"/>
              </a:ext>
            </a:extLst>
          </p:cNvPr>
          <p:cNvSpPr>
            <a:spLocks noGrp="1"/>
          </p:cNvSpPr>
          <p:nvPr>
            <p:ph type="body" sz="quarter" idx="12"/>
          </p:nvPr>
        </p:nvSpPr>
        <p:spPr>
          <a:xfrm>
            <a:off x="915923" y="1664462"/>
            <a:ext cx="4823395" cy="400110"/>
          </a:xfrm>
          <a:prstGeom prst="rect">
            <a:avLst/>
          </a:prstGeom>
        </p:spPr>
        <p:txBody>
          <a:bodyPr wrap="square">
            <a:spAutoFit/>
          </a:bodyPr>
          <a:lstStyle>
            <a:lvl1pPr marL="0" indent="0" algn="l">
              <a:lnSpc>
                <a:spcPct val="100000"/>
              </a:lnSpc>
              <a:spcBef>
                <a:spcPts val="0"/>
              </a:spcBef>
              <a:buNone/>
              <a:defRPr sz="2000" b="1">
                <a:solidFill>
                  <a:schemeClr val="tx2"/>
                </a:solidFill>
                <a:latin typeface="+mj-lt"/>
              </a:defRPr>
            </a:lvl1pPr>
          </a:lstStyle>
          <a:p>
            <a:pPr lvl="0"/>
            <a:endParaRPr lang="en-US"/>
          </a:p>
        </p:txBody>
      </p:sp>
      <p:sp>
        <p:nvSpPr>
          <p:cNvPr id="4" name="Rectangle 3">
            <a:extLst>
              <a:ext uri="{FF2B5EF4-FFF2-40B4-BE49-F238E27FC236}">
                <a16:creationId xmlns:a16="http://schemas.microsoft.com/office/drawing/2014/main" id="{E84DD2D2-3572-7E10-7E73-152459F761BA}"/>
              </a:ext>
            </a:extLst>
          </p:cNvPr>
          <p:cNvSpPr/>
          <p:nvPr userDrawn="1"/>
        </p:nvSpPr>
        <p:spPr>
          <a:xfrm>
            <a:off x="6704077" y="1535919"/>
            <a:ext cx="4572000" cy="3931920"/>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821A043D-D6A7-48B0-6BA5-9094B8B17ED9}"/>
              </a:ext>
            </a:extLst>
          </p:cNvPr>
          <p:cNvSpPr>
            <a:spLocks noGrp="1"/>
          </p:cNvSpPr>
          <p:nvPr>
            <p:ph type="body" sz="quarter" idx="13"/>
          </p:nvPr>
        </p:nvSpPr>
        <p:spPr>
          <a:xfrm>
            <a:off x="7068005" y="1943322"/>
            <a:ext cx="3844144" cy="369332"/>
          </a:xfrm>
          <a:prstGeom prst="rect">
            <a:avLst/>
          </a:prstGeom>
        </p:spPr>
        <p:txBody>
          <a:bodyPr wrap="square">
            <a:spAutoFit/>
          </a:bodyPr>
          <a:lstStyle>
            <a:lvl1pPr marL="0" indent="0" algn="l">
              <a:lnSpc>
                <a:spcPct val="100000"/>
              </a:lnSpc>
              <a:spcBef>
                <a:spcPts val="0"/>
              </a:spcBef>
              <a:buNone/>
              <a:defRPr sz="1800" b="1">
                <a:solidFill>
                  <a:schemeClr val="accent3"/>
                </a:solidFill>
                <a:latin typeface="+mj-lt"/>
              </a:defRPr>
            </a:lvl1pPr>
          </a:lstStyle>
          <a:p>
            <a:pPr lvl="0"/>
            <a:endParaRPr lang="en-US"/>
          </a:p>
        </p:txBody>
      </p:sp>
    </p:spTree>
    <p:extLst>
      <p:ext uri="{BB962C8B-B14F-4D97-AF65-F5344CB8AC3E}">
        <p14:creationId xmlns:p14="http://schemas.microsoft.com/office/powerpoint/2010/main" val="14955785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803555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Tree>
    <p:extLst>
      <p:ext uri="{BB962C8B-B14F-4D97-AF65-F5344CB8AC3E}">
        <p14:creationId xmlns:p14="http://schemas.microsoft.com/office/powerpoint/2010/main" val="3227968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7D2FC0-C433-05AC-818E-E043006DCD98}"/>
              </a:ext>
            </a:extLst>
          </p:cNvPr>
          <p:cNvSpPr/>
          <p:nvPr userDrawn="1"/>
        </p:nvSpPr>
        <p:spPr>
          <a:xfrm>
            <a:off x="6096000" y="0"/>
            <a:ext cx="6096000" cy="685799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2" y="369886"/>
            <a:ext cx="4988697" cy="361619"/>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5223619"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9314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Squa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09899F6F-FC6D-F86D-2717-17CB462D9B83}"/>
              </a:ext>
            </a:extLst>
          </p:cNvPr>
          <p:cNvSpPr>
            <a:spLocks noGrp="1"/>
          </p:cNvSpPr>
          <p:nvPr>
            <p:ph type="body" sz="quarter" idx="12"/>
          </p:nvPr>
        </p:nvSpPr>
        <p:spPr>
          <a:xfrm>
            <a:off x="915923" y="1664462"/>
            <a:ext cx="4823395" cy="400110"/>
          </a:xfrm>
          <a:prstGeom prst="rect">
            <a:avLst/>
          </a:prstGeom>
        </p:spPr>
        <p:txBody>
          <a:bodyPr wrap="square">
            <a:spAutoFit/>
          </a:bodyPr>
          <a:lstStyle>
            <a:lvl1pPr marL="0" indent="0" algn="l">
              <a:lnSpc>
                <a:spcPct val="100000"/>
              </a:lnSpc>
              <a:spcBef>
                <a:spcPts val="0"/>
              </a:spcBef>
              <a:buNone/>
              <a:defRPr sz="2000" b="1">
                <a:solidFill>
                  <a:schemeClr val="tx2"/>
                </a:solidFill>
                <a:latin typeface="+mj-lt"/>
              </a:defRPr>
            </a:lvl1pPr>
          </a:lstStyle>
          <a:p>
            <a:pPr lvl="0"/>
            <a:endParaRPr lang="en-US"/>
          </a:p>
        </p:txBody>
      </p:sp>
      <p:sp>
        <p:nvSpPr>
          <p:cNvPr id="4" name="Rectangle 3">
            <a:extLst>
              <a:ext uri="{FF2B5EF4-FFF2-40B4-BE49-F238E27FC236}">
                <a16:creationId xmlns:a16="http://schemas.microsoft.com/office/drawing/2014/main" id="{E84DD2D2-3572-7E10-7E73-152459F761BA}"/>
              </a:ext>
            </a:extLst>
          </p:cNvPr>
          <p:cNvSpPr/>
          <p:nvPr userDrawn="1"/>
        </p:nvSpPr>
        <p:spPr>
          <a:xfrm>
            <a:off x="6704077" y="1535919"/>
            <a:ext cx="4572000" cy="3931920"/>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7">
            <a:extLst>
              <a:ext uri="{FF2B5EF4-FFF2-40B4-BE49-F238E27FC236}">
                <a16:creationId xmlns:a16="http://schemas.microsoft.com/office/drawing/2014/main" id="{821A043D-D6A7-48B0-6BA5-9094B8B17ED9}"/>
              </a:ext>
            </a:extLst>
          </p:cNvPr>
          <p:cNvSpPr>
            <a:spLocks noGrp="1"/>
          </p:cNvSpPr>
          <p:nvPr>
            <p:ph type="body" sz="quarter" idx="13"/>
          </p:nvPr>
        </p:nvSpPr>
        <p:spPr>
          <a:xfrm>
            <a:off x="7068005" y="1943322"/>
            <a:ext cx="3844144" cy="369332"/>
          </a:xfrm>
          <a:prstGeom prst="rect">
            <a:avLst/>
          </a:prstGeom>
        </p:spPr>
        <p:txBody>
          <a:bodyPr wrap="square">
            <a:spAutoFit/>
          </a:bodyPr>
          <a:lstStyle>
            <a:lvl1pPr marL="0" indent="0" algn="l">
              <a:lnSpc>
                <a:spcPct val="100000"/>
              </a:lnSpc>
              <a:spcBef>
                <a:spcPts val="0"/>
              </a:spcBef>
              <a:buNone/>
              <a:defRPr sz="1800" b="1">
                <a:solidFill>
                  <a:schemeClr val="accent3"/>
                </a:solidFill>
                <a:latin typeface="+mj-lt"/>
              </a:defRPr>
            </a:lvl1pPr>
          </a:lstStyle>
          <a:p>
            <a:pPr lvl="0"/>
            <a:endParaRPr lang="en-US"/>
          </a:p>
        </p:txBody>
      </p:sp>
    </p:spTree>
    <p:extLst>
      <p:ext uri="{BB962C8B-B14F-4D97-AF65-F5344CB8AC3E}">
        <p14:creationId xmlns:p14="http://schemas.microsoft.com/office/powerpoint/2010/main" val="254266464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2" name="Graphic 1">
            <a:extLst>
              <a:ext uri="{FF2B5EF4-FFF2-40B4-BE49-F238E27FC236}">
                <a16:creationId xmlns:a16="http://schemas.microsoft.com/office/drawing/2014/main" id="{9F41C9DD-9D7F-E574-6C8E-A0BA639B15A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7" name="Picture 6">
            <a:extLst>
              <a:ext uri="{FF2B5EF4-FFF2-40B4-BE49-F238E27FC236}">
                <a16:creationId xmlns:a16="http://schemas.microsoft.com/office/drawing/2014/main" id="{F26FB4F6-6294-F7E7-26E7-690E948FAA7C}"/>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516" y="1362748"/>
            <a:ext cx="1603251" cy="1603251"/>
          </a:xfrm>
          <a:prstGeom prst="ellipse">
            <a:avLst/>
          </a:prstGeom>
          <a:solidFill>
            <a:schemeClr val="bg1"/>
          </a:solidFill>
        </p:spPr>
      </p:pic>
      <p:pic>
        <p:nvPicPr>
          <p:cNvPr id="8" name="Picture 7">
            <a:extLst>
              <a:ext uri="{FF2B5EF4-FFF2-40B4-BE49-F238E27FC236}">
                <a16:creationId xmlns:a16="http://schemas.microsoft.com/office/drawing/2014/main" id="{B39D4477-9A64-9161-C46A-75A2B8569E5A}"/>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375" y="1362748"/>
            <a:ext cx="1603251" cy="1603251"/>
          </a:xfrm>
          <a:prstGeom prst="ellipse">
            <a:avLst/>
          </a:prstGeom>
          <a:solidFill>
            <a:schemeClr val="bg1"/>
          </a:solidFill>
        </p:spPr>
      </p:pic>
      <p:pic>
        <p:nvPicPr>
          <p:cNvPr id="9" name="Picture 8">
            <a:extLst>
              <a:ext uri="{FF2B5EF4-FFF2-40B4-BE49-F238E27FC236}">
                <a16:creationId xmlns:a16="http://schemas.microsoft.com/office/drawing/2014/main" id="{072DE7EC-4168-3E8D-B474-3A0F449356C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233" y="1362748"/>
            <a:ext cx="1603251" cy="1603251"/>
          </a:xfrm>
          <a:prstGeom prst="ellipse">
            <a:avLst/>
          </a:prstGeom>
          <a:solidFill>
            <a:schemeClr val="bg1"/>
          </a:solidFill>
        </p:spPr>
      </p:pic>
    </p:spTree>
    <p:extLst>
      <p:ext uri="{BB962C8B-B14F-4D97-AF65-F5344CB8AC3E}">
        <p14:creationId xmlns:p14="http://schemas.microsoft.com/office/powerpoint/2010/main" val="8048768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ocks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605153"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3898011"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6190869"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8483727"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1775079"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1775079"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2209038"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1775079"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4067937"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4067937"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4501896"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4067937"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6360795"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6360795"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6794754"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6360795"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userDrawn="1">
            <p:ph type="body" sz="quarter" idx="23"/>
          </p:nvPr>
        </p:nvSpPr>
        <p:spPr>
          <a:xfrm>
            <a:off x="8653653"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userDrawn="1">
            <p:ph type="body" sz="quarter" idx="24"/>
          </p:nvPr>
        </p:nvSpPr>
        <p:spPr>
          <a:xfrm>
            <a:off x="8653653"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9087612"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userDrawn="1">
            <p:ph type="body" sz="quarter" idx="25"/>
          </p:nvPr>
        </p:nvSpPr>
        <p:spPr>
          <a:xfrm>
            <a:off x="8653653"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EDF55984-000E-8984-E1FD-1C5F229ACDC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B3373AFF-A781-8A01-575C-AA3F3F31FF1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1855088" y="1362748"/>
            <a:ext cx="1603251" cy="1603251"/>
          </a:xfrm>
          <a:prstGeom prst="ellipse">
            <a:avLst/>
          </a:prstGeom>
        </p:spPr>
      </p:pic>
      <p:pic>
        <p:nvPicPr>
          <p:cNvPr id="27" name="Picture 26">
            <a:extLst>
              <a:ext uri="{FF2B5EF4-FFF2-40B4-BE49-F238E27FC236}">
                <a16:creationId xmlns:a16="http://schemas.microsoft.com/office/drawing/2014/main" id="{3A4DF074-FCEF-F240-42DF-1B023B9B8DE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4147946" y="1362748"/>
            <a:ext cx="1603251" cy="1603251"/>
          </a:xfrm>
          <a:prstGeom prst="ellipse">
            <a:avLst/>
          </a:prstGeom>
        </p:spPr>
      </p:pic>
      <p:pic>
        <p:nvPicPr>
          <p:cNvPr id="28" name="Picture 27">
            <a:extLst>
              <a:ext uri="{FF2B5EF4-FFF2-40B4-BE49-F238E27FC236}">
                <a16:creationId xmlns:a16="http://schemas.microsoft.com/office/drawing/2014/main" id="{D3474343-027B-3D92-5A9E-AADDE88E43E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6440804" y="1362748"/>
            <a:ext cx="1603251" cy="1603251"/>
          </a:xfrm>
          <a:prstGeom prst="ellipse">
            <a:avLst/>
          </a:prstGeom>
        </p:spPr>
      </p:pic>
      <p:pic>
        <p:nvPicPr>
          <p:cNvPr id="29" name="Picture 28">
            <a:extLst>
              <a:ext uri="{FF2B5EF4-FFF2-40B4-BE49-F238E27FC236}">
                <a16:creationId xmlns:a16="http://schemas.microsoft.com/office/drawing/2014/main" id="{D21815F1-34B3-32A3-C086-D2969E96F33D}"/>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8733662" y="1362748"/>
            <a:ext cx="1603251" cy="1603251"/>
          </a:xfrm>
          <a:prstGeom prst="ellipse">
            <a:avLst/>
          </a:prstGeom>
        </p:spPr>
      </p:pic>
    </p:spTree>
    <p:extLst>
      <p:ext uri="{BB962C8B-B14F-4D97-AF65-F5344CB8AC3E}">
        <p14:creationId xmlns:p14="http://schemas.microsoft.com/office/powerpoint/2010/main" val="344128479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ock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4FF8598-4A73-B87D-8511-B9C051904D29}"/>
              </a:ext>
            </a:extLst>
          </p:cNvPr>
          <p:cNvSpPr/>
          <p:nvPr userDrawn="1"/>
        </p:nvSpPr>
        <p:spPr>
          <a:xfrm>
            <a:off x="458724"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628650"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628650"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1062609"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628650"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7" name="Rectangle 26">
            <a:extLst>
              <a:ext uri="{FF2B5EF4-FFF2-40B4-BE49-F238E27FC236}">
                <a16:creationId xmlns:a16="http://schemas.microsoft.com/office/drawing/2014/main" id="{977941D7-FAF9-9C99-785A-8911EB7273AB}"/>
              </a:ext>
            </a:extLst>
          </p:cNvPr>
          <p:cNvSpPr/>
          <p:nvPr userDrawn="1"/>
        </p:nvSpPr>
        <p:spPr>
          <a:xfrm>
            <a:off x="9630156"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7">
            <a:extLst>
              <a:ext uri="{FF2B5EF4-FFF2-40B4-BE49-F238E27FC236}">
                <a16:creationId xmlns:a16="http://schemas.microsoft.com/office/drawing/2014/main" id="{D756774C-9FE3-86FA-4336-3A2E21C342CF}"/>
              </a:ext>
            </a:extLst>
          </p:cNvPr>
          <p:cNvSpPr>
            <a:spLocks noGrp="1"/>
          </p:cNvSpPr>
          <p:nvPr>
            <p:ph type="body" sz="quarter" idx="26"/>
          </p:nvPr>
        </p:nvSpPr>
        <p:spPr>
          <a:xfrm>
            <a:off x="9800082"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9" name="Text Placeholder 7">
            <a:extLst>
              <a:ext uri="{FF2B5EF4-FFF2-40B4-BE49-F238E27FC236}">
                <a16:creationId xmlns:a16="http://schemas.microsoft.com/office/drawing/2014/main" id="{6FCADC7F-CEFE-5CB6-7E51-A9CC172B980A}"/>
              </a:ext>
            </a:extLst>
          </p:cNvPr>
          <p:cNvSpPr>
            <a:spLocks noGrp="1"/>
          </p:cNvSpPr>
          <p:nvPr>
            <p:ph type="body" sz="quarter" idx="27"/>
          </p:nvPr>
        </p:nvSpPr>
        <p:spPr>
          <a:xfrm>
            <a:off x="9800082"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30" name="Straight Connector 29">
            <a:extLst>
              <a:ext uri="{FF2B5EF4-FFF2-40B4-BE49-F238E27FC236}">
                <a16:creationId xmlns:a16="http://schemas.microsoft.com/office/drawing/2014/main" id="{6F5E91DF-0A96-22A0-371D-640B57E7D242}"/>
              </a:ext>
            </a:extLst>
          </p:cNvPr>
          <p:cNvCxnSpPr>
            <a:cxnSpLocks/>
          </p:cNvCxnSpPr>
          <p:nvPr userDrawn="1"/>
        </p:nvCxnSpPr>
        <p:spPr>
          <a:xfrm>
            <a:off x="10234041"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255C6C76-F58C-2042-9EB7-AB5EA9D88452}"/>
              </a:ext>
            </a:extLst>
          </p:cNvPr>
          <p:cNvSpPr>
            <a:spLocks noGrp="1"/>
          </p:cNvSpPr>
          <p:nvPr>
            <p:ph type="body" sz="quarter" idx="28"/>
          </p:nvPr>
        </p:nvSpPr>
        <p:spPr>
          <a:xfrm>
            <a:off x="9800082"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77889A56-40F9-9680-1D99-7DF2DB33FB0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CF284CA0-2051-3E59-72F6-A02AB0150BA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08911" y="1362748"/>
            <a:ext cx="1603251" cy="1603251"/>
          </a:xfrm>
          <a:prstGeom prst="ellipse">
            <a:avLst/>
          </a:prstGeom>
        </p:spPr>
      </p:pic>
      <p:pic>
        <p:nvPicPr>
          <p:cNvPr id="32" name="Picture 31">
            <a:extLst>
              <a:ext uri="{FF2B5EF4-FFF2-40B4-BE49-F238E27FC236}">
                <a16:creationId xmlns:a16="http://schemas.microsoft.com/office/drawing/2014/main" id="{35C8F448-6E63-9C48-3AA8-2B319845CF4E}"/>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769" y="1362748"/>
            <a:ext cx="1603251" cy="1603251"/>
          </a:xfrm>
          <a:prstGeom prst="ellipse">
            <a:avLst/>
          </a:prstGeom>
        </p:spPr>
      </p:pic>
      <p:pic>
        <p:nvPicPr>
          <p:cNvPr id="33" name="Picture 32">
            <a:extLst>
              <a:ext uri="{FF2B5EF4-FFF2-40B4-BE49-F238E27FC236}">
                <a16:creationId xmlns:a16="http://schemas.microsoft.com/office/drawing/2014/main" id="{6AF66E33-63A5-D749-D4A1-88E6939DF74B}"/>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627" y="1362748"/>
            <a:ext cx="1603251" cy="1603251"/>
          </a:xfrm>
          <a:prstGeom prst="ellipse">
            <a:avLst/>
          </a:prstGeom>
        </p:spPr>
      </p:pic>
      <p:pic>
        <p:nvPicPr>
          <p:cNvPr id="34" name="Picture 33">
            <a:extLst>
              <a:ext uri="{FF2B5EF4-FFF2-40B4-BE49-F238E27FC236}">
                <a16:creationId xmlns:a16="http://schemas.microsoft.com/office/drawing/2014/main" id="{E33BE5BA-90D0-3478-0B62-E0B6A61C4B39}"/>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485" y="1362748"/>
            <a:ext cx="1603251" cy="1603251"/>
          </a:xfrm>
          <a:prstGeom prst="ellipse">
            <a:avLst/>
          </a:prstGeom>
        </p:spPr>
      </p:pic>
      <p:pic>
        <p:nvPicPr>
          <p:cNvPr id="35" name="Picture 34">
            <a:extLst>
              <a:ext uri="{FF2B5EF4-FFF2-40B4-BE49-F238E27FC236}">
                <a16:creationId xmlns:a16="http://schemas.microsoft.com/office/drawing/2014/main" id="{1B9E5CB7-5308-6105-B7DA-33451F1DD7D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9879838" y="1362748"/>
            <a:ext cx="1603251" cy="1603251"/>
          </a:xfrm>
          <a:prstGeom prst="ellipse">
            <a:avLst/>
          </a:prstGeom>
        </p:spPr>
      </p:pic>
    </p:spTree>
    <p:extLst>
      <p:ext uri="{BB962C8B-B14F-4D97-AF65-F5344CB8AC3E}">
        <p14:creationId xmlns:p14="http://schemas.microsoft.com/office/powerpoint/2010/main" val="95316651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ircl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24488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7842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23574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506563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90115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83469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89201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1236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ircl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844154" y="1663831"/>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291412" y="2857654"/>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752714" y="2558004"/>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4433796" y="1663831"/>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881054" y="2857654"/>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4342356" y="2558004"/>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7023438" y="1663831"/>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6470696" y="2857654"/>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6931998" y="2558004"/>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9613081" y="1663831"/>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9060339" y="2857654"/>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9521641" y="2558004"/>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81139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ircl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84415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291412"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75271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443379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881054"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434235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702343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6470696"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693199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9613081"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9060339"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9521641"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2054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2" name="Graphic 1">
            <a:extLst>
              <a:ext uri="{FF2B5EF4-FFF2-40B4-BE49-F238E27FC236}">
                <a16:creationId xmlns:a16="http://schemas.microsoft.com/office/drawing/2014/main" id="{9F41C9DD-9D7F-E574-6C8E-A0BA639B15A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7" name="Picture 6">
            <a:extLst>
              <a:ext uri="{FF2B5EF4-FFF2-40B4-BE49-F238E27FC236}">
                <a16:creationId xmlns:a16="http://schemas.microsoft.com/office/drawing/2014/main" id="{F26FB4F6-6294-F7E7-26E7-690E948FAA7C}"/>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516" y="1362748"/>
            <a:ext cx="1603251" cy="1603251"/>
          </a:xfrm>
          <a:prstGeom prst="ellipse">
            <a:avLst/>
          </a:prstGeom>
          <a:solidFill>
            <a:schemeClr val="bg1"/>
          </a:solidFill>
        </p:spPr>
      </p:pic>
      <p:pic>
        <p:nvPicPr>
          <p:cNvPr id="8" name="Picture 7">
            <a:extLst>
              <a:ext uri="{FF2B5EF4-FFF2-40B4-BE49-F238E27FC236}">
                <a16:creationId xmlns:a16="http://schemas.microsoft.com/office/drawing/2014/main" id="{B39D4477-9A64-9161-C46A-75A2B8569E5A}"/>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375" y="1362748"/>
            <a:ext cx="1603251" cy="1603251"/>
          </a:xfrm>
          <a:prstGeom prst="ellipse">
            <a:avLst/>
          </a:prstGeom>
          <a:solidFill>
            <a:schemeClr val="bg1"/>
          </a:solidFill>
        </p:spPr>
      </p:pic>
      <p:pic>
        <p:nvPicPr>
          <p:cNvPr id="9" name="Picture 8">
            <a:extLst>
              <a:ext uri="{FF2B5EF4-FFF2-40B4-BE49-F238E27FC236}">
                <a16:creationId xmlns:a16="http://schemas.microsoft.com/office/drawing/2014/main" id="{072DE7EC-4168-3E8D-B474-3A0F449356C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233" y="1362748"/>
            <a:ext cx="1603251" cy="1603251"/>
          </a:xfrm>
          <a:prstGeom prst="ellipse">
            <a:avLst/>
          </a:prstGeom>
          <a:solidFill>
            <a:schemeClr val="bg1"/>
          </a:solidFill>
        </p:spPr>
      </p:pic>
    </p:spTree>
    <p:extLst>
      <p:ext uri="{BB962C8B-B14F-4D97-AF65-F5344CB8AC3E}">
        <p14:creationId xmlns:p14="http://schemas.microsoft.com/office/powerpoint/2010/main" val="36122519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37312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28168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3551682"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3460242"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790879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781735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9666012-D5CA-6C32-71FB-2964CBE18EA3}"/>
              </a:ext>
            </a:extLst>
          </p:cNvPr>
          <p:cNvSpPr>
            <a:spLocks noChangeAspect="1"/>
          </p:cNvSpPr>
          <p:nvPr userDrawn="1"/>
        </p:nvSpPr>
        <p:spPr>
          <a:xfrm>
            <a:off x="1008735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mj-lt"/>
              </a:rPr>
              <a:t>5</a:t>
            </a:r>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32" name="Straight Connector 31">
            <a:extLst>
              <a:ext uri="{FF2B5EF4-FFF2-40B4-BE49-F238E27FC236}">
                <a16:creationId xmlns:a16="http://schemas.microsoft.com/office/drawing/2014/main" id="{DDCD6415-B3BB-A9A4-7D70-A1D58E6730DD}"/>
              </a:ext>
            </a:extLst>
          </p:cNvPr>
          <p:cNvCxnSpPr>
            <a:cxnSpLocks/>
          </p:cNvCxnSpPr>
          <p:nvPr userDrawn="1"/>
        </p:nvCxnSpPr>
        <p:spPr>
          <a:xfrm>
            <a:off x="999591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75752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13130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sp>
        <p:nvSpPr>
          <p:cNvPr id="2" name="Oval 1">
            <a:extLst>
              <a:ext uri="{FF2B5EF4-FFF2-40B4-BE49-F238E27FC236}">
                <a16:creationId xmlns:a16="http://schemas.microsoft.com/office/drawing/2014/main" id="{2EF713FC-D296-053E-DC5F-83C78D4D913A}"/>
              </a:ext>
            </a:extLst>
          </p:cNvPr>
          <p:cNvSpPr>
            <a:spLocks noChangeAspect="1"/>
          </p:cNvSpPr>
          <p:nvPr userDrawn="1"/>
        </p:nvSpPr>
        <p:spPr>
          <a:xfrm>
            <a:off x="3377201"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2" name="Oval 11">
            <a:extLst>
              <a:ext uri="{FF2B5EF4-FFF2-40B4-BE49-F238E27FC236}">
                <a16:creationId xmlns:a16="http://schemas.microsoft.com/office/drawing/2014/main" id="{5DCA0A88-4691-6F0E-54E2-05B9D4F37BF9}"/>
              </a:ext>
            </a:extLst>
          </p:cNvPr>
          <p:cNvSpPr>
            <a:spLocks noChangeAspect="1"/>
          </p:cNvSpPr>
          <p:nvPr userDrawn="1"/>
        </p:nvSpPr>
        <p:spPr>
          <a:xfrm>
            <a:off x="5494759"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3" name="Oval 12">
            <a:extLst>
              <a:ext uri="{FF2B5EF4-FFF2-40B4-BE49-F238E27FC236}">
                <a16:creationId xmlns:a16="http://schemas.microsoft.com/office/drawing/2014/main" id="{8DF9D04B-F59C-1ABD-05FA-A8EA3837C244}"/>
              </a:ext>
            </a:extLst>
          </p:cNvPr>
          <p:cNvSpPr>
            <a:spLocks noChangeAspect="1"/>
          </p:cNvSpPr>
          <p:nvPr userDrawn="1"/>
        </p:nvSpPr>
        <p:spPr>
          <a:xfrm>
            <a:off x="769252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
        <p:nvSpPr>
          <p:cNvPr id="16" name="Oval 15">
            <a:extLst>
              <a:ext uri="{FF2B5EF4-FFF2-40B4-BE49-F238E27FC236}">
                <a16:creationId xmlns:a16="http://schemas.microsoft.com/office/drawing/2014/main" id="{6D2494B4-25A7-D573-4DB8-C3E365B58333}"/>
              </a:ext>
            </a:extLst>
          </p:cNvPr>
          <p:cNvSpPr>
            <a:spLocks noChangeAspect="1"/>
          </p:cNvSpPr>
          <p:nvPr userDrawn="1"/>
        </p:nvSpPr>
        <p:spPr>
          <a:xfrm>
            <a:off x="9745917" y="2311248"/>
            <a:ext cx="1215153" cy="1215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a:solidFill>
                <a:schemeClr val="bg1"/>
              </a:solidFill>
              <a:latin typeface="+mj-lt"/>
            </a:endParaRPr>
          </a:p>
        </p:txBody>
      </p:sp>
    </p:spTree>
    <p:extLst>
      <p:ext uri="{BB962C8B-B14F-4D97-AF65-F5344CB8AC3E}">
        <p14:creationId xmlns:p14="http://schemas.microsoft.com/office/powerpoint/2010/main" val="42071500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14483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1202508"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86740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2</a:t>
            </a:r>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2116908"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1</a:t>
            </a:r>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962762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3</a:t>
            </a:r>
          </a:p>
        </p:txBody>
      </p:sp>
      <p:cxnSp>
        <p:nvCxnSpPr>
          <p:cNvPr id="13" name="Straight Connector 12">
            <a:extLst>
              <a:ext uri="{FF2B5EF4-FFF2-40B4-BE49-F238E27FC236}">
                <a16:creationId xmlns:a16="http://schemas.microsoft.com/office/drawing/2014/main" id="{6A25765D-ACEF-715F-7E4D-A68C1BFA2DD9}"/>
              </a:ext>
            </a:extLst>
          </p:cNvPr>
          <p:cNvCxnSpPr>
            <a:stCxn id="7" idx="6"/>
            <a:endCxn id="25" idx="2"/>
          </p:cNvCxnSpPr>
          <p:nvPr userDrawn="1"/>
        </p:nvCxnSpPr>
        <p:spPr>
          <a:xfrm>
            <a:off x="2574108" y="3711915"/>
            <a:ext cx="3293292" cy="0"/>
          </a:xfrm>
          <a:prstGeom prst="line">
            <a:avLst/>
          </a:prstGeom>
          <a:ln w="25400" cap="sq"/>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308A8D2-E977-3D8F-52FF-D20DF2CD568A}"/>
              </a:ext>
            </a:extLst>
          </p:cNvPr>
          <p:cNvCxnSpPr>
            <a:stCxn id="25" idx="6"/>
            <a:endCxn id="22" idx="2"/>
          </p:cNvCxnSpPr>
          <p:nvPr userDrawn="1"/>
        </p:nvCxnSpPr>
        <p:spPr>
          <a:xfrm>
            <a:off x="6324600" y="3711915"/>
            <a:ext cx="3303020" cy="0"/>
          </a:xfrm>
          <a:prstGeom prst="line">
            <a:avLst/>
          </a:prstGeom>
          <a:ln w="25400" cap="sq"/>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370F47DE-4C02-2CFD-9C3C-66C96698C614}"/>
              </a:ext>
            </a:extLst>
          </p:cNvPr>
          <p:cNvSpPr>
            <a:spLocks noGrp="1"/>
          </p:cNvSpPr>
          <p:nvPr>
            <p:ph type="body" sz="quarter" idx="18"/>
          </p:nvPr>
        </p:nvSpPr>
        <p:spPr>
          <a:xfrm>
            <a:off x="1202508"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469D82BB-F286-0712-2FA6-D3D275ED31C4}"/>
              </a:ext>
            </a:extLst>
          </p:cNvPr>
          <p:cNvSpPr>
            <a:spLocks noGrp="1"/>
          </p:cNvSpPr>
          <p:nvPr>
            <p:ph type="body" sz="quarter" idx="19"/>
          </p:nvPr>
        </p:nvSpPr>
        <p:spPr>
          <a:xfrm>
            <a:off x="495300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7F5D9FEC-2077-53B6-966D-FE91C310A318}"/>
              </a:ext>
            </a:extLst>
          </p:cNvPr>
          <p:cNvSpPr>
            <a:spLocks noGrp="1"/>
          </p:cNvSpPr>
          <p:nvPr>
            <p:ph type="body" sz="quarter" idx="20"/>
          </p:nvPr>
        </p:nvSpPr>
        <p:spPr>
          <a:xfrm>
            <a:off x="495300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31" name="Text Placeholder 7">
            <a:extLst>
              <a:ext uri="{FF2B5EF4-FFF2-40B4-BE49-F238E27FC236}">
                <a16:creationId xmlns:a16="http://schemas.microsoft.com/office/drawing/2014/main" id="{0C40B926-F7A9-AEA0-D21E-941E3060CA28}"/>
              </a:ext>
            </a:extLst>
          </p:cNvPr>
          <p:cNvSpPr>
            <a:spLocks noGrp="1"/>
          </p:cNvSpPr>
          <p:nvPr>
            <p:ph type="body" sz="quarter" idx="21"/>
          </p:nvPr>
        </p:nvSpPr>
        <p:spPr>
          <a:xfrm>
            <a:off x="871322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2" name="Text Placeholder 7">
            <a:extLst>
              <a:ext uri="{FF2B5EF4-FFF2-40B4-BE49-F238E27FC236}">
                <a16:creationId xmlns:a16="http://schemas.microsoft.com/office/drawing/2014/main" id="{1AA20646-C4DB-5051-FE4D-CC6B3392F445}"/>
              </a:ext>
            </a:extLst>
          </p:cNvPr>
          <p:cNvSpPr>
            <a:spLocks noGrp="1"/>
          </p:cNvSpPr>
          <p:nvPr>
            <p:ph type="body" sz="quarter" idx="22"/>
          </p:nvPr>
        </p:nvSpPr>
        <p:spPr>
          <a:xfrm>
            <a:off x="871322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Tree>
    <p:extLst>
      <p:ext uri="{BB962C8B-B14F-4D97-AF65-F5344CB8AC3E}">
        <p14:creationId xmlns:p14="http://schemas.microsoft.com/office/powerpoint/2010/main" val="35943581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ards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01AC39-50EF-F537-90B3-A203E16FB12F}"/>
              </a:ext>
            </a:extLst>
          </p:cNvPr>
          <p:cNvSpPr/>
          <p:nvPr userDrawn="1"/>
        </p:nvSpPr>
        <p:spPr>
          <a:xfrm>
            <a:off x="2181429"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6276934"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35453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2985502" y="4260871"/>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408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081007" y="4230300"/>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8067559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704956"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4735403"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7765851"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5626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2000738"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5593079"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5031185"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86235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8061633"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5133899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513061"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867314"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6221567"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575820"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061701"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41661"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415954"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4095914"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77020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450167"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24460"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804420" y="4230300"/>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7197275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0663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80663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4615110" y="2031853"/>
            <a:ext cx="27432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666670" y="1780393"/>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803830" y="1917553"/>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4843710" y="2564986"/>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0D5519EB-0A28-48E3-336E-75DC0D694BC1}"/>
              </a:ext>
            </a:extLst>
          </p:cNvPr>
          <p:cNvSpPr/>
          <p:nvPr userDrawn="1"/>
        </p:nvSpPr>
        <p:spPr>
          <a:xfrm>
            <a:off x="1871910" y="2031853"/>
            <a:ext cx="27432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9ED7FE08-90C0-A179-06D8-BF78D6660D6B}"/>
              </a:ext>
            </a:extLst>
          </p:cNvPr>
          <p:cNvSpPr>
            <a:spLocks noChangeAspect="1"/>
          </p:cNvSpPr>
          <p:nvPr userDrawn="1"/>
        </p:nvSpPr>
        <p:spPr>
          <a:xfrm>
            <a:off x="2923470" y="1780393"/>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3060630" y="1917553"/>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2100510" y="2564986"/>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0" name="Rectangle 9">
            <a:extLst>
              <a:ext uri="{FF2B5EF4-FFF2-40B4-BE49-F238E27FC236}">
                <a16:creationId xmlns:a16="http://schemas.microsoft.com/office/drawing/2014/main" id="{01670E57-D4BF-1AAD-4F00-CFC172B949EB}"/>
              </a:ext>
            </a:extLst>
          </p:cNvPr>
          <p:cNvSpPr/>
          <p:nvPr userDrawn="1"/>
        </p:nvSpPr>
        <p:spPr>
          <a:xfrm>
            <a:off x="7358310" y="2031853"/>
            <a:ext cx="27432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946952C5-3B30-5CF7-91B9-D5BCBE89A1F5}"/>
              </a:ext>
            </a:extLst>
          </p:cNvPr>
          <p:cNvSpPr>
            <a:spLocks noChangeAspect="1"/>
          </p:cNvSpPr>
          <p:nvPr userDrawn="1"/>
        </p:nvSpPr>
        <p:spPr>
          <a:xfrm>
            <a:off x="8409870" y="178039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8547030" y="1917553"/>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mj-lt"/>
              </a:rPr>
              <a:t>3</a:t>
            </a:r>
          </a:p>
        </p:txBody>
      </p:sp>
      <p:sp>
        <p:nvSpPr>
          <p:cNvPr id="27" name="Text Placeholder 7">
            <a:extLst>
              <a:ext uri="{FF2B5EF4-FFF2-40B4-BE49-F238E27FC236}">
                <a16:creationId xmlns:a16="http://schemas.microsoft.com/office/drawing/2014/main" id="{F722B445-20C8-72DC-28DD-41B92ED25975}"/>
              </a:ext>
            </a:extLst>
          </p:cNvPr>
          <p:cNvSpPr>
            <a:spLocks noGrp="1"/>
          </p:cNvSpPr>
          <p:nvPr>
            <p:ph type="body" sz="quarter" idx="18"/>
          </p:nvPr>
        </p:nvSpPr>
        <p:spPr>
          <a:xfrm>
            <a:off x="7586910" y="2564986"/>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15742549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4724400" y="3607340"/>
            <a:ext cx="27432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49530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0D5519EB-0A28-48E3-336E-75DC0D694BC1}"/>
              </a:ext>
            </a:extLst>
          </p:cNvPr>
          <p:cNvSpPr/>
          <p:nvPr userDrawn="1"/>
        </p:nvSpPr>
        <p:spPr>
          <a:xfrm>
            <a:off x="1981200" y="3607340"/>
            <a:ext cx="27432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9ED7FE08-90C0-A179-06D8-BF78D6660D6B}"/>
              </a:ext>
            </a:extLst>
          </p:cNvPr>
          <p:cNvSpPr>
            <a:spLocks noChangeAspect="1"/>
          </p:cNvSpPr>
          <p:nvPr userDrawn="1"/>
        </p:nvSpPr>
        <p:spPr>
          <a:xfrm>
            <a:off x="30327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3169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22098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0" name="Rectangle 9">
            <a:extLst>
              <a:ext uri="{FF2B5EF4-FFF2-40B4-BE49-F238E27FC236}">
                <a16:creationId xmlns:a16="http://schemas.microsoft.com/office/drawing/2014/main" id="{01670E57-D4BF-1AAD-4F00-CFC172B949EB}"/>
              </a:ext>
            </a:extLst>
          </p:cNvPr>
          <p:cNvSpPr/>
          <p:nvPr userDrawn="1"/>
        </p:nvSpPr>
        <p:spPr>
          <a:xfrm>
            <a:off x="7467600" y="3607340"/>
            <a:ext cx="27432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946952C5-3B30-5CF7-91B9-D5BCBE89A1F5}"/>
              </a:ext>
            </a:extLst>
          </p:cNvPr>
          <p:cNvSpPr>
            <a:spLocks noChangeAspect="1"/>
          </p:cNvSpPr>
          <p:nvPr userDrawn="1"/>
        </p:nvSpPr>
        <p:spPr>
          <a:xfrm>
            <a:off x="85191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8656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mj-lt"/>
              </a:rPr>
              <a:t>3</a:t>
            </a:r>
          </a:p>
        </p:txBody>
      </p:sp>
      <p:sp>
        <p:nvSpPr>
          <p:cNvPr id="27" name="Text Placeholder 7">
            <a:extLst>
              <a:ext uri="{FF2B5EF4-FFF2-40B4-BE49-F238E27FC236}">
                <a16:creationId xmlns:a16="http://schemas.microsoft.com/office/drawing/2014/main" id="{F722B445-20C8-72DC-28DD-41B92ED25975}"/>
              </a:ext>
            </a:extLst>
          </p:cNvPr>
          <p:cNvSpPr>
            <a:spLocks noGrp="1"/>
          </p:cNvSpPr>
          <p:nvPr>
            <p:ph type="body" sz="quarter" idx="18"/>
          </p:nvPr>
        </p:nvSpPr>
        <p:spPr>
          <a:xfrm>
            <a:off x="76962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4897071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Lin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grpSp>
        <p:nvGrpSpPr>
          <p:cNvPr id="15" name="Group 14">
            <a:extLst>
              <a:ext uri="{FF2B5EF4-FFF2-40B4-BE49-F238E27FC236}">
                <a16:creationId xmlns:a16="http://schemas.microsoft.com/office/drawing/2014/main" id="{85A7E188-33E4-E269-6434-F2D1705D22DB}"/>
              </a:ext>
            </a:extLst>
          </p:cNvPr>
          <p:cNvGrpSpPr/>
          <p:nvPr userDrawn="1"/>
        </p:nvGrpSpPr>
        <p:grpSpPr>
          <a:xfrm>
            <a:off x="1419225" y="3355880"/>
            <a:ext cx="2286000" cy="640080"/>
            <a:chOff x="987032" y="3279680"/>
            <a:chExt cx="2286000" cy="64008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987032" y="3531140"/>
              <a:ext cx="228600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1809992" y="32796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1947152" y="34168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grpSp>
      <p:sp>
        <p:nvSpPr>
          <p:cNvPr id="16" name="Text Placeholder 7">
            <a:extLst>
              <a:ext uri="{FF2B5EF4-FFF2-40B4-BE49-F238E27FC236}">
                <a16:creationId xmlns:a16="http://schemas.microsoft.com/office/drawing/2014/main" id="{3952704B-368A-DE61-E747-1D4BBC4F42AA}"/>
              </a:ext>
            </a:extLst>
          </p:cNvPr>
          <p:cNvSpPr>
            <a:spLocks noGrp="1"/>
          </p:cNvSpPr>
          <p:nvPr>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07340"/>
            <a:ext cx="2286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07340"/>
            <a:ext cx="22860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07340"/>
            <a:ext cx="22860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28037042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in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524000" y="3607340"/>
            <a:ext cx="18288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183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2555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068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352800" y="3607340"/>
            <a:ext cx="182880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3947160" y="3355880"/>
            <a:ext cx="640080" cy="6400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084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5"/>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5356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181600" y="3607340"/>
            <a:ext cx="18288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53644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7010400" y="3607340"/>
            <a:ext cx="1828800" cy="137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04760" y="3355880"/>
            <a:ext cx="640080" cy="6400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7741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4"/>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1932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DBED0348-A68C-3BDC-02EA-4ED68BECD2DE}"/>
              </a:ext>
            </a:extLst>
          </p:cNvPr>
          <p:cNvSpPr/>
          <p:nvPr userDrawn="1"/>
        </p:nvSpPr>
        <p:spPr>
          <a:xfrm>
            <a:off x="8839200" y="3607340"/>
            <a:ext cx="18288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1338211E-99BC-FE47-9AE9-9E41D33AB903}"/>
              </a:ext>
            </a:extLst>
          </p:cNvPr>
          <p:cNvSpPr>
            <a:spLocks noChangeAspect="1"/>
          </p:cNvSpPr>
          <p:nvPr userDrawn="1"/>
        </p:nvSpPr>
        <p:spPr>
          <a:xfrm>
            <a:off x="94335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C1439478-20CF-1415-E111-393134249855}"/>
              </a:ext>
            </a:extLst>
          </p:cNvPr>
          <p:cNvSpPr>
            <a:spLocks noChangeAspect="1"/>
          </p:cNvSpPr>
          <p:nvPr userDrawn="1"/>
        </p:nvSpPr>
        <p:spPr>
          <a:xfrm>
            <a:off x="95707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5</a:t>
            </a:r>
          </a:p>
        </p:txBody>
      </p:sp>
      <p:sp>
        <p:nvSpPr>
          <p:cNvPr id="8" name="Text Placeholder 7">
            <a:extLst>
              <a:ext uri="{FF2B5EF4-FFF2-40B4-BE49-F238E27FC236}">
                <a16:creationId xmlns:a16="http://schemas.microsoft.com/office/drawing/2014/main" id="{E1CC260C-504F-6E41-D1D8-20EAE6CE1A0B}"/>
              </a:ext>
            </a:extLst>
          </p:cNvPr>
          <p:cNvSpPr>
            <a:spLocks noGrp="1"/>
          </p:cNvSpPr>
          <p:nvPr userDrawn="1">
            <p:ph type="body" sz="quarter" idx="18"/>
          </p:nvPr>
        </p:nvSpPr>
        <p:spPr>
          <a:xfrm>
            <a:off x="90220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0626324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ocks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605153"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3898011"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6190869"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8483727"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1775079"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1775079"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2209038"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1775079"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4067937"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4067937"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4501896"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4067937"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6360795"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6360795"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6794754"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6360795"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userDrawn="1">
            <p:ph type="body" sz="quarter" idx="23"/>
          </p:nvPr>
        </p:nvSpPr>
        <p:spPr>
          <a:xfrm>
            <a:off x="8653653"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userDrawn="1">
            <p:ph type="body" sz="quarter" idx="24"/>
          </p:nvPr>
        </p:nvSpPr>
        <p:spPr>
          <a:xfrm>
            <a:off x="8653653"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9087612"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userDrawn="1">
            <p:ph type="body" sz="quarter" idx="25"/>
          </p:nvPr>
        </p:nvSpPr>
        <p:spPr>
          <a:xfrm>
            <a:off x="8653653"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EDF55984-000E-8984-E1FD-1C5F229ACDC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B3373AFF-A781-8A01-575C-AA3F3F31FF1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1855088" y="1362748"/>
            <a:ext cx="1603251" cy="1603251"/>
          </a:xfrm>
          <a:prstGeom prst="ellipse">
            <a:avLst/>
          </a:prstGeom>
        </p:spPr>
      </p:pic>
      <p:pic>
        <p:nvPicPr>
          <p:cNvPr id="27" name="Picture 26">
            <a:extLst>
              <a:ext uri="{FF2B5EF4-FFF2-40B4-BE49-F238E27FC236}">
                <a16:creationId xmlns:a16="http://schemas.microsoft.com/office/drawing/2014/main" id="{3A4DF074-FCEF-F240-42DF-1B023B9B8DE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4147946" y="1362748"/>
            <a:ext cx="1603251" cy="1603251"/>
          </a:xfrm>
          <a:prstGeom prst="ellipse">
            <a:avLst/>
          </a:prstGeom>
        </p:spPr>
      </p:pic>
      <p:pic>
        <p:nvPicPr>
          <p:cNvPr id="28" name="Picture 27">
            <a:extLst>
              <a:ext uri="{FF2B5EF4-FFF2-40B4-BE49-F238E27FC236}">
                <a16:creationId xmlns:a16="http://schemas.microsoft.com/office/drawing/2014/main" id="{D3474343-027B-3D92-5A9E-AADDE88E43E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6440804" y="1362748"/>
            <a:ext cx="1603251" cy="1603251"/>
          </a:xfrm>
          <a:prstGeom prst="ellipse">
            <a:avLst/>
          </a:prstGeom>
        </p:spPr>
      </p:pic>
      <p:pic>
        <p:nvPicPr>
          <p:cNvPr id="29" name="Picture 28">
            <a:extLst>
              <a:ext uri="{FF2B5EF4-FFF2-40B4-BE49-F238E27FC236}">
                <a16:creationId xmlns:a16="http://schemas.microsoft.com/office/drawing/2014/main" id="{D21815F1-34B3-32A3-C086-D2969E96F33D}"/>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8733662" y="1362748"/>
            <a:ext cx="1603251" cy="1603251"/>
          </a:xfrm>
          <a:prstGeom prst="ellipse">
            <a:avLst/>
          </a:prstGeom>
        </p:spPr>
      </p:pic>
    </p:spTree>
    <p:extLst>
      <p:ext uri="{BB962C8B-B14F-4D97-AF65-F5344CB8AC3E}">
        <p14:creationId xmlns:p14="http://schemas.microsoft.com/office/powerpoint/2010/main" val="615886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rategy Bloc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41051059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trategy Blocks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439159"/>
            <a:ext cx="2286000" cy="18338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05025" y="29923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00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148086481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rategy Block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3705225" y="3439159"/>
            <a:ext cx="2286000" cy="18338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4391025" y="29923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4586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accent1"/>
                </a:solidFill>
                <a:latin typeface="+mj-lt"/>
              </a:rPr>
              <a:t>2</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3937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176169758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trategy 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5991225" y="3439159"/>
            <a:ext cx="2286000" cy="18338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6677025" y="2992357"/>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6872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accent3"/>
                </a:solidFill>
                <a:latin typeface="+mj-lt"/>
              </a:rPr>
              <a:t>3</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223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40283429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trategy Block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8241000" y="3439159"/>
            <a:ext cx="2286000" cy="1833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8926800" y="2992357"/>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9122743"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2"/>
                </a:solidFill>
                <a:latin typeface="+mj-lt"/>
              </a:rPr>
              <a:t>4</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8473168"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5955000"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6777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6915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3"/>
                </a:solidFill>
                <a:latin typeface="+mj-lt"/>
              </a:rPr>
              <a:t>3</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6187168"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137933216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alf Strategy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27" name="Rectangle 26">
            <a:extLst>
              <a:ext uri="{FF2B5EF4-FFF2-40B4-BE49-F238E27FC236}">
                <a16:creationId xmlns:a16="http://schemas.microsoft.com/office/drawing/2014/main" id="{BD0D187D-D5D2-A70E-176B-B363136D674D}"/>
              </a:ext>
            </a:extLst>
          </p:cNvPr>
          <p:cNvSpPr/>
          <p:nvPr userDrawn="1"/>
        </p:nvSpPr>
        <p:spPr>
          <a:xfrm rot="5400000">
            <a:off x="6862995" y="2838309"/>
            <a:ext cx="957091"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36462BB9-1B94-41BC-9D24-C82FC55A39F6}"/>
              </a:ext>
            </a:extLst>
          </p:cNvPr>
          <p:cNvGrpSpPr/>
          <p:nvPr userDrawn="1"/>
        </p:nvGrpSpPr>
        <p:grpSpPr>
          <a:xfrm>
            <a:off x="7021500" y="1816733"/>
            <a:ext cx="640080" cy="640080"/>
            <a:chOff x="7021500" y="1816733"/>
            <a:chExt cx="640080" cy="640080"/>
          </a:xfrm>
        </p:grpSpPr>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1816733"/>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189815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1"/>
                  </a:solidFill>
                  <a:latin typeface="+mj-lt"/>
                </a:rPr>
                <a:t>1</a:t>
              </a:r>
            </a:p>
          </p:txBody>
        </p:sp>
      </p:grpSp>
      <p:sp>
        <p:nvSpPr>
          <p:cNvPr id="35" name="Rectangle 34">
            <a:extLst>
              <a:ext uri="{FF2B5EF4-FFF2-40B4-BE49-F238E27FC236}">
                <a16:creationId xmlns:a16="http://schemas.microsoft.com/office/drawing/2014/main" id="{820886A3-3CCA-33EB-B2EE-013BA48AF37F}"/>
              </a:ext>
            </a:extLst>
          </p:cNvPr>
          <p:cNvSpPr/>
          <p:nvPr userDrawn="1"/>
        </p:nvSpPr>
        <p:spPr>
          <a:xfrm rot="5400000">
            <a:off x="6863312" y="4340859"/>
            <a:ext cx="956427"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4D667E34-3D8B-8435-A7BF-03557F727A21}"/>
              </a:ext>
            </a:extLst>
          </p:cNvPr>
          <p:cNvGrpSpPr/>
          <p:nvPr userDrawn="1"/>
        </p:nvGrpSpPr>
        <p:grpSpPr>
          <a:xfrm>
            <a:off x="7021485" y="3325493"/>
            <a:ext cx="640080" cy="640080"/>
            <a:chOff x="7021485" y="3775916"/>
            <a:chExt cx="640080" cy="640080"/>
          </a:xfrm>
        </p:grpSpPr>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3"/>
                  </a:solidFill>
                  <a:latin typeface="+mj-lt"/>
                </a:rPr>
                <a:t>2</a:t>
              </a:r>
            </a:p>
          </p:txBody>
        </p:sp>
      </p:grpSp>
      <p:grpSp>
        <p:nvGrpSpPr>
          <p:cNvPr id="7" name="Group 6">
            <a:extLst>
              <a:ext uri="{FF2B5EF4-FFF2-40B4-BE49-F238E27FC236}">
                <a16:creationId xmlns:a16="http://schemas.microsoft.com/office/drawing/2014/main" id="{3B82EDB9-4BD3-C3DE-04A3-0A2836A763B2}"/>
              </a:ext>
            </a:extLst>
          </p:cNvPr>
          <p:cNvGrpSpPr/>
          <p:nvPr userDrawn="1"/>
        </p:nvGrpSpPr>
        <p:grpSpPr>
          <a:xfrm>
            <a:off x="7021485" y="4834253"/>
            <a:ext cx="640080" cy="640080"/>
            <a:chOff x="7021485" y="4834253"/>
            <a:chExt cx="640080" cy="640080"/>
          </a:xfrm>
        </p:grpSpPr>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2"/>
                  </a:solidFill>
                  <a:latin typeface="+mj-lt"/>
                </a:rPr>
                <a:t>3</a:t>
              </a:r>
            </a:p>
          </p:txBody>
        </p:sp>
      </p:gr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1946039"/>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455781"/>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399557427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Half Strategy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7915309" y="1794618"/>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12" name="Rectangle 11">
            <a:extLst>
              <a:ext uri="{FF2B5EF4-FFF2-40B4-BE49-F238E27FC236}">
                <a16:creationId xmlns:a16="http://schemas.microsoft.com/office/drawing/2014/main" id="{4B4BEC70-7E02-9579-75E9-E3F9A2AEF385}"/>
              </a:ext>
            </a:extLst>
          </p:cNvPr>
          <p:cNvSpPr/>
          <p:nvPr userDrawn="1"/>
        </p:nvSpPr>
        <p:spPr>
          <a:xfrm rot="5400000">
            <a:off x="7092128" y="2443203"/>
            <a:ext cx="498826" cy="972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7021500" y="1659244"/>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7102924" y="1740668"/>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latin typeface="+mj-lt"/>
              </a:rPr>
              <a:t>1</a:t>
            </a:r>
          </a:p>
        </p:txBody>
      </p:sp>
      <p:sp>
        <p:nvSpPr>
          <p:cNvPr id="27" name="Rectangle 26">
            <a:extLst>
              <a:ext uri="{FF2B5EF4-FFF2-40B4-BE49-F238E27FC236}">
                <a16:creationId xmlns:a16="http://schemas.microsoft.com/office/drawing/2014/main" id="{BD0D187D-D5D2-A70E-176B-B363136D674D}"/>
              </a:ext>
            </a:extLst>
          </p:cNvPr>
          <p:cNvSpPr/>
          <p:nvPr userDrawn="1"/>
        </p:nvSpPr>
        <p:spPr>
          <a:xfrm rot="5400000">
            <a:off x="7087896" y="3505771"/>
            <a:ext cx="507290"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27175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2799004"/>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1"/>
                </a:solidFill>
                <a:latin typeface="+mj-lt"/>
              </a:rPr>
              <a:t>2</a:t>
            </a:r>
          </a:p>
        </p:txBody>
      </p:sp>
      <p:sp>
        <p:nvSpPr>
          <p:cNvPr id="35" name="Rectangle 34">
            <a:extLst>
              <a:ext uri="{FF2B5EF4-FFF2-40B4-BE49-F238E27FC236}">
                <a16:creationId xmlns:a16="http://schemas.microsoft.com/office/drawing/2014/main" id="{820886A3-3CCA-33EB-B2EE-013BA48AF37F}"/>
              </a:ext>
            </a:extLst>
          </p:cNvPr>
          <p:cNvSpPr/>
          <p:nvPr userDrawn="1"/>
        </p:nvSpPr>
        <p:spPr>
          <a:xfrm rot="5400000">
            <a:off x="7087221" y="4564767"/>
            <a:ext cx="508610"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3"/>
                </a:solidFill>
                <a:latin typeface="+mj-lt"/>
              </a:rPr>
              <a:t>3</a:t>
            </a:r>
          </a:p>
        </p:txBody>
      </p:sp>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2"/>
                </a:solidFill>
                <a:latin typeface="+mj-lt"/>
              </a:rPr>
              <a:t>4</a:t>
            </a:r>
          </a:p>
        </p:txBody>
      </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2852954"/>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911290"/>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103162447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Half Parts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71340"/>
            <a:ext cx="6096000" cy="69293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5637276"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2065388"/>
            <a:ext cx="4364476" cy="584775"/>
          </a:xfrm>
          <a:prstGeom prst="rect">
            <a:avLst/>
          </a:prstGeom>
        </p:spPr>
        <p:txBody>
          <a:bodyPr wrap="square">
            <a:spAutoFit/>
          </a:bodyPr>
          <a:lstStyle>
            <a:lvl1pPr marL="0" indent="0" algn="l">
              <a:lnSpc>
                <a:spcPct val="100000"/>
              </a:lnSpc>
              <a:spcBef>
                <a:spcPts val="0"/>
              </a:spcBef>
              <a:buNone/>
              <a:defRPr sz="3200" b="1">
                <a:solidFill>
                  <a:schemeClr val="bg1"/>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750588" y="1794618"/>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cxnSp>
        <p:nvCxnSpPr>
          <p:cNvPr id="4" name="Straight Connector 3">
            <a:extLst>
              <a:ext uri="{FF2B5EF4-FFF2-40B4-BE49-F238E27FC236}">
                <a16:creationId xmlns:a16="http://schemas.microsoft.com/office/drawing/2014/main" id="{B6B40C76-3F58-2EBC-81E1-360B2A80DFF6}"/>
              </a:ext>
            </a:extLst>
          </p:cNvPr>
          <p:cNvCxnSpPr>
            <a:cxnSpLocks/>
          </p:cNvCxnSpPr>
          <p:nvPr userDrawn="1"/>
        </p:nvCxnSpPr>
        <p:spPr>
          <a:xfrm>
            <a:off x="6096000" y="731520"/>
            <a:ext cx="563727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FC69D76-5279-ECCC-CCE4-79354438BDB5}"/>
              </a:ext>
            </a:extLst>
          </p:cNvPr>
          <p:cNvSpPr>
            <a:spLocks noGrp="1"/>
          </p:cNvSpPr>
          <p:nvPr>
            <p:ph type="body" sz="quarter" idx="18"/>
          </p:nvPr>
        </p:nvSpPr>
        <p:spPr>
          <a:xfrm>
            <a:off x="865762" y="1594563"/>
            <a:ext cx="4364476" cy="400110"/>
          </a:xfrm>
          <a:prstGeom prst="rect">
            <a:avLst/>
          </a:prstGeom>
        </p:spPr>
        <p:txBody>
          <a:bodyPr wrap="square">
            <a:spAutoFit/>
          </a:bodyPr>
          <a:lstStyle>
            <a:lvl1pPr marL="0" indent="0" algn="l">
              <a:lnSpc>
                <a:spcPct val="100000"/>
              </a:lnSpc>
              <a:spcBef>
                <a:spcPts val="0"/>
              </a:spcBef>
              <a:buNone/>
              <a:defRPr sz="2000" b="1">
                <a:solidFill>
                  <a:schemeClr val="accent2"/>
                </a:solidFill>
                <a:latin typeface="+mj-lt"/>
              </a:defRPr>
            </a:lvl1pPr>
          </a:lstStyle>
          <a:p>
            <a:pPr lvl="0"/>
            <a:endParaRPr lang="en-US"/>
          </a:p>
        </p:txBody>
      </p:sp>
      <p:sp>
        <p:nvSpPr>
          <p:cNvPr id="11" name="Rectangle: Rounded Corners 10">
            <a:extLst>
              <a:ext uri="{FF2B5EF4-FFF2-40B4-BE49-F238E27FC236}">
                <a16:creationId xmlns:a16="http://schemas.microsoft.com/office/drawing/2014/main" id="{5AB949BC-78B6-7A97-06FD-1A05AA5A4F5F}"/>
              </a:ext>
            </a:extLst>
          </p:cNvPr>
          <p:cNvSpPr/>
          <p:nvPr userDrawn="1"/>
        </p:nvSpPr>
        <p:spPr>
          <a:xfrm>
            <a:off x="6828409" y="1390182"/>
            <a:ext cx="996412" cy="3463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Part One</a:t>
            </a:r>
          </a:p>
        </p:txBody>
      </p:sp>
      <p:sp>
        <p:nvSpPr>
          <p:cNvPr id="17" name="Text Placeholder 7">
            <a:extLst>
              <a:ext uri="{FF2B5EF4-FFF2-40B4-BE49-F238E27FC236}">
                <a16:creationId xmlns:a16="http://schemas.microsoft.com/office/drawing/2014/main" id="{CED1B20A-FC75-6760-9BC5-48562491CF9E}"/>
              </a:ext>
            </a:extLst>
          </p:cNvPr>
          <p:cNvSpPr>
            <a:spLocks noGrp="1"/>
          </p:cNvSpPr>
          <p:nvPr>
            <p:ph type="body" sz="quarter" idx="19"/>
          </p:nvPr>
        </p:nvSpPr>
        <p:spPr>
          <a:xfrm>
            <a:off x="6750588" y="331665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18" name="Rectangle: Rounded Corners 17">
            <a:extLst>
              <a:ext uri="{FF2B5EF4-FFF2-40B4-BE49-F238E27FC236}">
                <a16:creationId xmlns:a16="http://schemas.microsoft.com/office/drawing/2014/main" id="{F8D5C1C1-F6FB-9AA3-A214-DC766DB82544}"/>
              </a:ext>
            </a:extLst>
          </p:cNvPr>
          <p:cNvSpPr/>
          <p:nvPr userDrawn="1"/>
        </p:nvSpPr>
        <p:spPr>
          <a:xfrm>
            <a:off x="6828409" y="2912220"/>
            <a:ext cx="996412" cy="34635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Part Two</a:t>
            </a:r>
          </a:p>
        </p:txBody>
      </p:sp>
      <p:sp>
        <p:nvSpPr>
          <p:cNvPr id="19" name="Text Placeholder 7">
            <a:extLst>
              <a:ext uri="{FF2B5EF4-FFF2-40B4-BE49-F238E27FC236}">
                <a16:creationId xmlns:a16="http://schemas.microsoft.com/office/drawing/2014/main" id="{78B71EFF-3361-06F3-0D3C-58C7704130AF}"/>
              </a:ext>
            </a:extLst>
          </p:cNvPr>
          <p:cNvSpPr>
            <a:spLocks noGrp="1"/>
          </p:cNvSpPr>
          <p:nvPr>
            <p:ph type="body" sz="quarter" idx="20"/>
          </p:nvPr>
        </p:nvSpPr>
        <p:spPr>
          <a:xfrm>
            <a:off x="6750588" y="487871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20" name="Rectangle: Rounded Corners 19">
            <a:extLst>
              <a:ext uri="{FF2B5EF4-FFF2-40B4-BE49-F238E27FC236}">
                <a16:creationId xmlns:a16="http://schemas.microsoft.com/office/drawing/2014/main" id="{BD376073-0EFD-CECD-41ED-C35EF9D43844}"/>
              </a:ext>
            </a:extLst>
          </p:cNvPr>
          <p:cNvSpPr/>
          <p:nvPr userDrawn="1"/>
        </p:nvSpPr>
        <p:spPr>
          <a:xfrm>
            <a:off x="6828409" y="4474280"/>
            <a:ext cx="996412" cy="34635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t>Part Three</a:t>
            </a:r>
          </a:p>
        </p:txBody>
      </p:sp>
    </p:spTree>
    <p:extLst>
      <p:ext uri="{BB962C8B-B14F-4D97-AF65-F5344CB8AC3E}">
        <p14:creationId xmlns:p14="http://schemas.microsoft.com/office/powerpoint/2010/main" val="29988612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23263744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812534"/>
            <a:ext cx="4364476" cy="338554"/>
          </a:xfrm>
          <a:prstGeom prst="rect">
            <a:avLst/>
          </a:prstGeom>
        </p:spPr>
        <p:txBody>
          <a:bodyPr wrap="square" anchor="t" anchorCtr="0">
            <a:spAutoFit/>
          </a:bodyPr>
          <a:lstStyle>
            <a:lvl1pPr marL="0" indent="0" algn="l">
              <a:lnSpc>
                <a:spcPct val="100000"/>
              </a:lnSpc>
              <a:spcBef>
                <a:spcPts val="0"/>
              </a:spcBef>
              <a:buNone/>
              <a:defRPr sz="16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
        <p:nvSpPr>
          <p:cNvPr id="2" name="Rectangle 1">
            <a:extLst>
              <a:ext uri="{FF2B5EF4-FFF2-40B4-BE49-F238E27FC236}">
                <a16:creationId xmlns:a16="http://schemas.microsoft.com/office/drawing/2014/main" id="{48560333-1FD5-3D91-F24C-0EC1C3428C69}"/>
              </a:ext>
            </a:extLst>
          </p:cNvPr>
          <p:cNvSpPr/>
          <p:nvPr userDrawn="1"/>
        </p:nvSpPr>
        <p:spPr>
          <a:xfrm>
            <a:off x="0" y="4218112"/>
            <a:ext cx="6096000" cy="2639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7">
            <a:extLst>
              <a:ext uri="{FF2B5EF4-FFF2-40B4-BE49-F238E27FC236}">
                <a16:creationId xmlns:a16="http://schemas.microsoft.com/office/drawing/2014/main" id="{79B1A5AD-E1CF-D826-29DE-10FE11A6EAE2}"/>
              </a:ext>
            </a:extLst>
          </p:cNvPr>
          <p:cNvSpPr>
            <a:spLocks noGrp="1"/>
          </p:cNvSpPr>
          <p:nvPr>
            <p:ph type="body" sz="quarter" idx="19"/>
          </p:nvPr>
        </p:nvSpPr>
        <p:spPr>
          <a:xfrm>
            <a:off x="560264"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7" name="Text Placeholder 7">
            <a:extLst>
              <a:ext uri="{FF2B5EF4-FFF2-40B4-BE49-F238E27FC236}">
                <a16:creationId xmlns:a16="http://schemas.microsoft.com/office/drawing/2014/main" id="{7F1A33B8-DA79-66AD-4075-029620EB7805}"/>
              </a:ext>
            </a:extLst>
          </p:cNvPr>
          <p:cNvSpPr>
            <a:spLocks noGrp="1"/>
          </p:cNvSpPr>
          <p:nvPr>
            <p:ph type="body" sz="quarter" idx="20"/>
          </p:nvPr>
        </p:nvSpPr>
        <p:spPr>
          <a:xfrm>
            <a:off x="45713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7" name="Text Placeholder 7">
            <a:extLst>
              <a:ext uri="{FF2B5EF4-FFF2-40B4-BE49-F238E27FC236}">
                <a16:creationId xmlns:a16="http://schemas.microsoft.com/office/drawing/2014/main" id="{296A4797-99E8-955A-A4A2-6E5E26A8F3B8}"/>
              </a:ext>
            </a:extLst>
          </p:cNvPr>
          <p:cNvSpPr>
            <a:spLocks noGrp="1"/>
          </p:cNvSpPr>
          <p:nvPr>
            <p:ph type="body" sz="quarter" idx="24"/>
          </p:nvPr>
        </p:nvSpPr>
        <p:spPr>
          <a:xfrm>
            <a:off x="416485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8" name="Text Placeholder 7">
            <a:extLst>
              <a:ext uri="{FF2B5EF4-FFF2-40B4-BE49-F238E27FC236}">
                <a16:creationId xmlns:a16="http://schemas.microsoft.com/office/drawing/2014/main" id="{5689A97D-6AA7-A6E9-8332-8E6EEC5E0910}"/>
              </a:ext>
            </a:extLst>
          </p:cNvPr>
          <p:cNvSpPr>
            <a:spLocks noGrp="1"/>
          </p:cNvSpPr>
          <p:nvPr>
            <p:ph type="body" sz="quarter" idx="25"/>
          </p:nvPr>
        </p:nvSpPr>
        <p:spPr>
          <a:xfrm>
            <a:off x="426798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19" name="Text Placeholder 7">
            <a:extLst>
              <a:ext uri="{FF2B5EF4-FFF2-40B4-BE49-F238E27FC236}">
                <a16:creationId xmlns:a16="http://schemas.microsoft.com/office/drawing/2014/main" id="{2F7C3C95-1419-EBCA-6318-90CBF363970F}"/>
              </a:ext>
            </a:extLst>
          </p:cNvPr>
          <p:cNvSpPr>
            <a:spLocks noGrp="1"/>
          </p:cNvSpPr>
          <p:nvPr>
            <p:ph type="body" sz="quarter" idx="26"/>
          </p:nvPr>
        </p:nvSpPr>
        <p:spPr>
          <a:xfrm>
            <a:off x="230806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20" name="Text Placeholder 7">
            <a:extLst>
              <a:ext uri="{FF2B5EF4-FFF2-40B4-BE49-F238E27FC236}">
                <a16:creationId xmlns:a16="http://schemas.microsoft.com/office/drawing/2014/main" id="{E056A348-DCC8-C650-DD74-D71018FC8F04}"/>
              </a:ext>
            </a:extLst>
          </p:cNvPr>
          <p:cNvSpPr>
            <a:spLocks noGrp="1"/>
          </p:cNvSpPr>
          <p:nvPr>
            <p:ph type="body" sz="quarter" idx="27"/>
          </p:nvPr>
        </p:nvSpPr>
        <p:spPr>
          <a:xfrm>
            <a:off x="241119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Tree>
    <p:extLst>
      <p:ext uri="{BB962C8B-B14F-4D97-AF65-F5344CB8AC3E}">
        <p14:creationId xmlns:p14="http://schemas.microsoft.com/office/powerpoint/2010/main" val="589053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ock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4FF8598-4A73-B87D-8511-B9C051904D29}"/>
              </a:ext>
            </a:extLst>
          </p:cNvPr>
          <p:cNvSpPr/>
          <p:nvPr userDrawn="1"/>
        </p:nvSpPr>
        <p:spPr>
          <a:xfrm>
            <a:off x="458724"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628650"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628650"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1062609"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628650"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7" name="Rectangle 26">
            <a:extLst>
              <a:ext uri="{FF2B5EF4-FFF2-40B4-BE49-F238E27FC236}">
                <a16:creationId xmlns:a16="http://schemas.microsoft.com/office/drawing/2014/main" id="{977941D7-FAF9-9C99-785A-8911EB7273AB}"/>
              </a:ext>
            </a:extLst>
          </p:cNvPr>
          <p:cNvSpPr/>
          <p:nvPr userDrawn="1"/>
        </p:nvSpPr>
        <p:spPr>
          <a:xfrm>
            <a:off x="9630156"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7">
            <a:extLst>
              <a:ext uri="{FF2B5EF4-FFF2-40B4-BE49-F238E27FC236}">
                <a16:creationId xmlns:a16="http://schemas.microsoft.com/office/drawing/2014/main" id="{D756774C-9FE3-86FA-4336-3A2E21C342CF}"/>
              </a:ext>
            </a:extLst>
          </p:cNvPr>
          <p:cNvSpPr>
            <a:spLocks noGrp="1"/>
          </p:cNvSpPr>
          <p:nvPr>
            <p:ph type="body" sz="quarter" idx="26"/>
          </p:nvPr>
        </p:nvSpPr>
        <p:spPr>
          <a:xfrm>
            <a:off x="9800082"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9" name="Text Placeholder 7">
            <a:extLst>
              <a:ext uri="{FF2B5EF4-FFF2-40B4-BE49-F238E27FC236}">
                <a16:creationId xmlns:a16="http://schemas.microsoft.com/office/drawing/2014/main" id="{6FCADC7F-CEFE-5CB6-7E51-A9CC172B980A}"/>
              </a:ext>
            </a:extLst>
          </p:cNvPr>
          <p:cNvSpPr>
            <a:spLocks noGrp="1"/>
          </p:cNvSpPr>
          <p:nvPr>
            <p:ph type="body" sz="quarter" idx="27"/>
          </p:nvPr>
        </p:nvSpPr>
        <p:spPr>
          <a:xfrm>
            <a:off x="9800082"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30" name="Straight Connector 29">
            <a:extLst>
              <a:ext uri="{FF2B5EF4-FFF2-40B4-BE49-F238E27FC236}">
                <a16:creationId xmlns:a16="http://schemas.microsoft.com/office/drawing/2014/main" id="{6F5E91DF-0A96-22A0-371D-640B57E7D242}"/>
              </a:ext>
            </a:extLst>
          </p:cNvPr>
          <p:cNvCxnSpPr>
            <a:cxnSpLocks/>
          </p:cNvCxnSpPr>
          <p:nvPr userDrawn="1"/>
        </p:nvCxnSpPr>
        <p:spPr>
          <a:xfrm>
            <a:off x="10234041"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255C6C76-F58C-2042-9EB7-AB5EA9D88452}"/>
              </a:ext>
            </a:extLst>
          </p:cNvPr>
          <p:cNvSpPr>
            <a:spLocks noGrp="1"/>
          </p:cNvSpPr>
          <p:nvPr>
            <p:ph type="body" sz="quarter" idx="28"/>
          </p:nvPr>
        </p:nvSpPr>
        <p:spPr>
          <a:xfrm>
            <a:off x="9800082"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77889A56-40F9-9680-1D99-7DF2DB33FB0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CF284CA0-2051-3E59-72F6-A02AB0150BA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08911" y="1362748"/>
            <a:ext cx="1603251" cy="1603251"/>
          </a:xfrm>
          <a:prstGeom prst="ellipse">
            <a:avLst/>
          </a:prstGeom>
        </p:spPr>
      </p:pic>
      <p:pic>
        <p:nvPicPr>
          <p:cNvPr id="32" name="Picture 31">
            <a:extLst>
              <a:ext uri="{FF2B5EF4-FFF2-40B4-BE49-F238E27FC236}">
                <a16:creationId xmlns:a16="http://schemas.microsoft.com/office/drawing/2014/main" id="{35C8F448-6E63-9C48-3AA8-2B319845CF4E}"/>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769" y="1362748"/>
            <a:ext cx="1603251" cy="1603251"/>
          </a:xfrm>
          <a:prstGeom prst="ellipse">
            <a:avLst/>
          </a:prstGeom>
        </p:spPr>
      </p:pic>
      <p:pic>
        <p:nvPicPr>
          <p:cNvPr id="33" name="Picture 32">
            <a:extLst>
              <a:ext uri="{FF2B5EF4-FFF2-40B4-BE49-F238E27FC236}">
                <a16:creationId xmlns:a16="http://schemas.microsoft.com/office/drawing/2014/main" id="{6AF66E33-63A5-D749-D4A1-88E6939DF74B}"/>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627" y="1362748"/>
            <a:ext cx="1603251" cy="1603251"/>
          </a:xfrm>
          <a:prstGeom prst="ellipse">
            <a:avLst/>
          </a:prstGeom>
        </p:spPr>
      </p:pic>
      <p:pic>
        <p:nvPicPr>
          <p:cNvPr id="34" name="Picture 33">
            <a:extLst>
              <a:ext uri="{FF2B5EF4-FFF2-40B4-BE49-F238E27FC236}">
                <a16:creationId xmlns:a16="http://schemas.microsoft.com/office/drawing/2014/main" id="{E33BE5BA-90D0-3478-0B62-E0B6A61C4B39}"/>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485" y="1362748"/>
            <a:ext cx="1603251" cy="1603251"/>
          </a:xfrm>
          <a:prstGeom prst="ellipse">
            <a:avLst/>
          </a:prstGeom>
        </p:spPr>
      </p:pic>
      <p:pic>
        <p:nvPicPr>
          <p:cNvPr id="35" name="Picture 34">
            <a:extLst>
              <a:ext uri="{FF2B5EF4-FFF2-40B4-BE49-F238E27FC236}">
                <a16:creationId xmlns:a16="http://schemas.microsoft.com/office/drawing/2014/main" id="{1B9E5CB7-5308-6105-B7DA-33451F1DD7D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9879838" y="1362748"/>
            <a:ext cx="1603251" cy="1603251"/>
          </a:xfrm>
          <a:prstGeom prst="ellipse">
            <a:avLst/>
          </a:prstGeom>
        </p:spPr>
      </p:pic>
    </p:spTree>
    <p:extLst>
      <p:ext uri="{BB962C8B-B14F-4D97-AF65-F5344CB8AC3E}">
        <p14:creationId xmlns:p14="http://schemas.microsoft.com/office/powerpoint/2010/main" val="338701623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21753436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812534"/>
            <a:ext cx="4364476" cy="338554"/>
          </a:xfrm>
          <a:prstGeom prst="rect">
            <a:avLst/>
          </a:prstGeom>
        </p:spPr>
        <p:txBody>
          <a:bodyPr wrap="square" anchor="t" anchorCtr="0">
            <a:spAutoFit/>
          </a:bodyPr>
          <a:lstStyle>
            <a:lvl1pPr marL="0" indent="0" algn="l">
              <a:lnSpc>
                <a:spcPct val="100000"/>
              </a:lnSpc>
              <a:spcBef>
                <a:spcPts val="0"/>
              </a:spcBef>
              <a:buNone/>
              <a:defRPr sz="16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
        <p:nvSpPr>
          <p:cNvPr id="2" name="Rectangle 1">
            <a:extLst>
              <a:ext uri="{FF2B5EF4-FFF2-40B4-BE49-F238E27FC236}">
                <a16:creationId xmlns:a16="http://schemas.microsoft.com/office/drawing/2014/main" id="{48560333-1FD5-3D91-F24C-0EC1C3428C69}"/>
              </a:ext>
            </a:extLst>
          </p:cNvPr>
          <p:cNvSpPr/>
          <p:nvPr userDrawn="1"/>
        </p:nvSpPr>
        <p:spPr>
          <a:xfrm>
            <a:off x="0" y="4218112"/>
            <a:ext cx="6096000" cy="2639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7">
            <a:extLst>
              <a:ext uri="{FF2B5EF4-FFF2-40B4-BE49-F238E27FC236}">
                <a16:creationId xmlns:a16="http://schemas.microsoft.com/office/drawing/2014/main" id="{79B1A5AD-E1CF-D826-29DE-10FE11A6EAE2}"/>
              </a:ext>
            </a:extLst>
          </p:cNvPr>
          <p:cNvSpPr>
            <a:spLocks noGrp="1"/>
          </p:cNvSpPr>
          <p:nvPr>
            <p:ph type="body" sz="quarter" idx="19"/>
          </p:nvPr>
        </p:nvSpPr>
        <p:spPr>
          <a:xfrm>
            <a:off x="560264"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7" name="Text Placeholder 7">
            <a:extLst>
              <a:ext uri="{FF2B5EF4-FFF2-40B4-BE49-F238E27FC236}">
                <a16:creationId xmlns:a16="http://schemas.microsoft.com/office/drawing/2014/main" id="{7F1A33B8-DA79-66AD-4075-029620EB7805}"/>
              </a:ext>
            </a:extLst>
          </p:cNvPr>
          <p:cNvSpPr>
            <a:spLocks noGrp="1"/>
          </p:cNvSpPr>
          <p:nvPr>
            <p:ph type="body" sz="quarter" idx="20"/>
          </p:nvPr>
        </p:nvSpPr>
        <p:spPr>
          <a:xfrm>
            <a:off x="45713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7" name="Text Placeholder 7">
            <a:extLst>
              <a:ext uri="{FF2B5EF4-FFF2-40B4-BE49-F238E27FC236}">
                <a16:creationId xmlns:a16="http://schemas.microsoft.com/office/drawing/2014/main" id="{296A4797-99E8-955A-A4A2-6E5E26A8F3B8}"/>
              </a:ext>
            </a:extLst>
          </p:cNvPr>
          <p:cNvSpPr>
            <a:spLocks noGrp="1"/>
          </p:cNvSpPr>
          <p:nvPr>
            <p:ph type="body" sz="quarter" idx="24"/>
          </p:nvPr>
        </p:nvSpPr>
        <p:spPr>
          <a:xfrm>
            <a:off x="416485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8" name="Text Placeholder 7">
            <a:extLst>
              <a:ext uri="{FF2B5EF4-FFF2-40B4-BE49-F238E27FC236}">
                <a16:creationId xmlns:a16="http://schemas.microsoft.com/office/drawing/2014/main" id="{5689A97D-6AA7-A6E9-8332-8E6EEC5E0910}"/>
              </a:ext>
            </a:extLst>
          </p:cNvPr>
          <p:cNvSpPr>
            <a:spLocks noGrp="1"/>
          </p:cNvSpPr>
          <p:nvPr>
            <p:ph type="body" sz="quarter" idx="25"/>
          </p:nvPr>
        </p:nvSpPr>
        <p:spPr>
          <a:xfrm>
            <a:off x="426798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19" name="Text Placeholder 7">
            <a:extLst>
              <a:ext uri="{FF2B5EF4-FFF2-40B4-BE49-F238E27FC236}">
                <a16:creationId xmlns:a16="http://schemas.microsoft.com/office/drawing/2014/main" id="{2F7C3C95-1419-EBCA-6318-90CBF363970F}"/>
              </a:ext>
            </a:extLst>
          </p:cNvPr>
          <p:cNvSpPr>
            <a:spLocks noGrp="1"/>
          </p:cNvSpPr>
          <p:nvPr>
            <p:ph type="body" sz="quarter" idx="26"/>
          </p:nvPr>
        </p:nvSpPr>
        <p:spPr>
          <a:xfrm>
            <a:off x="230806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20" name="Text Placeholder 7">
            <a:extLst>
              <a:ext uri="{FF2B5EF4-FFF2-40B4-BE49-F238E27FC236}">
                <a16:creationId xmlns:a16="http://schemas.microsoft.com/office/drawing/2014/main" id="{E056A348-DCC8-C650-DD74-D71018FC8F04}"/>
              </a:ext>
            </a:extLst>
          </p:cNvPr>
          <p:cNvSpPr>
            <a:spLocks noGrp="1"/>
          </p:cNvSpPr>
          <p:nvPr>
            <p:ph type="body" sz="quarter" idx="27"/>
          </p:nvPr>
        </p:nvSpPr>
        <p:spPr>
          <a:xfrm>
            <a:off x="241119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Tree>
    <p:extLst>
      <p:ext uri="{BB962C8B-B14F-4D97-AF65-F5344CB8AC3E}">
        <p14:creationId xmlns:p14="http://schemas.microsoft.com/office/powerpoint/2010/main" val="103109191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277904"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B14BAEF-6414-F29F-20C3-6435C3B6E3F5}"/>
              </a:ext>
            </a:extLst>
          </p:cNvPr>
          <p:cNvSpPr/>
          <p:nvPr userDrawn="1"/>
        </p:nvSpPr>
        <p:spPr>
          <a:xfrm>
            <a:off x="1277904" y="3036292"/>
            <a:ext cx="2970277"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1544798"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1517893"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0" name="Rectangle 9">
            <a:extLst>
              <a:ext uri="{FF2B5EF4-FFF2-40B4-BE49-F238E27FC236}">
                <a16:creationId xmlns:a16="http://schemas.microsoft.com/office/drawing/2014/main" id="{6E3D3E23-32AA-DE51-6F5A-20E45483333C}"/>
              </a:ext>
            </a:extLst>
          </p:cNvPr>
          <p:cNvSpPr/>
          <p:nvPr userDrawn="1"/>
        </p:nvSpPr>
        <p:spPr>
          <a:xfrm>
            <a:off x="4610861"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E575460-E652-2D83-01C3-BF0474493CB6}"/>
              </a:ext>
            </a:extLst>
          </p:cNvPr>
          <p:cNvSpPr/>
          <p:nvPr userDrawn="1"/>
        </p:nvSpPr>
        <p:spPr>
          <a:xfrm>
            <a:off x="4610861" y="3036292"/>
            <a:ext cx="2970277"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7">
            <a:extLst>
              <a:ext uri="{FF2B5EF4-FFF2-40B4-BE49-F238E27FC236}">
                <a16:creationId xmlns:a16="http://schemas.microsoft.com/office/drawing/2014/main" id="{F47A482C-5B81-E3D6-154E-BF9B45CDF02E}"/>
              </a:ext>
            </a:extLst>
          </p:cNvPr>
          <p:cNvSpPr>
            <a:spLocks noGrp="1"/>
          </p:cNvSpPr>
          <p:nvPr>
            <p:ph type="body" sz="quarter" idx="16"/>
          </p:nvPr>
        </p:nvSpPr>
        <p:spPr>
          <a:xfrm>
            <a:off x="4877755"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0C5054D3-4D66-B0E0-1A91-47F28B3D7ECD}"/>
              </a:ext>
            </a:extLst>
          </p:cNvPr>
          <p:cNvSpPr>
            <a:spLocks noGrp="1"/>
          </p:cNvSpPr>
          <p:nvPr>
            <p:ph type="body" sz="quarter" idx="17"/>
          </p:nvPr>
        </p:nvSpPr>
        <p:spPr>
          <a:xfrm>
            <a:off x="4850850"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5" name="Rectangle 14">
            <a:extLst>
              <a:ext uri="{FF2B5EF4-FFF2-40B4-BE49-F238E27FC236}">
                <a16:creationId xmlns:a16="http://schemas.microsoft.com/office/drawing/2014/main" id="{3F5DAF09-56FD-332F-0E73-565A8F27A8EA}"/>
              </a:ext>
            </a:extLst>
          </p:cNvPr>
          <p:cNvSpPr/>
          <p:nvPr userDrawn="1"/>
        </p:nvSpPr>
        <p:spPr>
          <a:xfrm>
            <a:off x="7943819"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B27FFB5-95AD-34D3-6537-CC41516AD206}"/>
              </a:ext>
            </a:extLst>
          </p:cNvPr>
          <p:cNvSpPr/>
          <p:nvPr userDrawn="1"/>
        </p:nvSpPr>
        <p:spPr>
          <a:xfrm>
            <a:off x="7943819" y="3036292"/>
            <a:ext cx="2970277"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7">
            <a:extLst>
              <a:ext uri="{FF2B5EF4-FFF2-40B4-BE49-F238E27FC236}">
                <a16:creationId xmlns:a16="http://schemas.microsoft.com/office/drawing/2014/main" id="{F2F8824C-9CAB-131A-DE2A-AE4832A795AB}"/>
              </a:ext>
            </a:extLst>
          </p:cNvPr>
          <p:cNvSpPr>
            <a:spLocks noGrp="1"/>
          </p:cNvSpPr>
          <p:nvPr>
            <p:ph type="body" sz="quarter" idx="18"/>
          </p:nvPr>
        </p:nvSpPr>
        <p:spPr>
          <a:xfrm>
            <a:off x="8210713"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85BE3C48-B8A0-D8BD-F575-9D99340A862D}"/>
              </a:ext>
            </a:extLst>
          </p:cNvPr>
          <p:cNvSpPr>
            <a:spLocks noGrp="1"/>
          </p:cNvSpPr>
          <p:nvPr>
            <p:ph type="body" sz="quarter" idx="19"/>
          </p:nvPr>
        </p:nvSpPr>
        <p:spPr>
          <a:xfrm>
            <a:off x="8183808"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21" name="Picture Placeholder 20">
            <a:extLst>
              <a:ext uri="{FF2B5EF4-FFF2-40B4-BE49-F238E27FC236}">
                <a16:creationId xmlns:a16="http://schemas.microsoft.com/office/drawing/2014/main" id="{1CA8DDE7-587C-F513-9393-12B07FF5433F}"/>
              </a:ext>
            </a:extLst>
          </p:cNvPr>
          <p:cNvSpPr>
            <a:spLocks noGrp="1"/>
          </p:cNvSpPr>
          <p:nvPr>
            <p:ph type="pic" sz="quarter" idx="20"/>
          </p:nvPr>
        </p:nvSpPr>
        <p:spPr>
          <a:xfrm>
            <a:off x="1277938" y="1210004"/>
            <a:ext cx="2970212" cy="1828800"/>
          </a:xfrm>
          <a:prstGeom prst="rect">
            <a:avLst/>
          </a:prstGeom>
        </p:spPr>
        <p:txBody>
          <a:bodyPr/>
          <a:lstStyle/>
          <a:p>
            <a:endParaRPr lang="en-US"/>
          </a:p>
        </p:txBody>
      </p:sp>
      <p:sp>
        <p:nvSpPr>
          <p:cNvPr id="22" name="Picture Placeholder 20">
            <a:extLst>
              <a:ext uri="{FF2B5EF4-FFF2-40B4-BE49-F238E27FC236}">
                <a16:creationId xmlns:a16="http://schemas.microsoft.com/office/drawing/2014/main" id="{34F27FC6-05F6-3590-A12A-885B7C83BCB0}"/>
              </a:ext>
            </a:extLst>
          </p:cNvPr>
          <p:cNvSpPr>
            <a:spLocks noGrp="1"/>
          </p:cNvSpPr>
          <p:nvPr>
            <p:ph type="pic" sz="quarter" idx="21"/>
          </p:nvPr>
        </p:nvSpPr>
        <p:spPr>
          <a:xfrm>
            <a:off x="4610926" y="1210004"/>
            <a:ext cx="2970212" cy="1828800"/>
          </a:xfrm>
          <a:prstGeom prst="rect">
            <a:avLst/>
          </a:prstGeom>
        </p:spPr>
        <p:txBody>
          <a:bodyPr/>
          <a:lstStyle/>
          <a:p>
            <a:endParaRPr lang="en-US"/>
          </a:p>
        </p:txBody>
      </p:sp>
      <p:sp>
        <p:nvSpPr>
          <p:cNvPr id="23" name="Picture Placeholder 20">
            <a:extLst>
              <a:ext uri="{FF2B5EF4-FFF2-40B4-BE49-F238E27FC236}">
                <a16:creationId xmlns:a16="http://schemas.microsoft.com/office/drawing/2014/main" id="{6662E003-83C4-5AAC-D61C-DA4FDFDA54F9}"/>
              </a:ext>
            </a:extLst>
          </p:cNvPr>
          <p:cNvSpPr>
            <a:spLocks noGrp="1"/>
          </p:cNvSpPr>
          <p:nvPr>
            <p:ph type="pic" sz="quarter" idx="22"/>
          </p:nvPr>
        </p:nvSpPr>
        <p:spPr>
          <a:xfrm>
            <a:off x="7943819" y="1210004"/>
            <a:ext cx="2970211" cy="1828800"/>
          </a:xfrm>
          <a:prstGeom prst="rect">
            <a:avLst/>
          </a:prstGeom>
        </p:spPr>
        <p:txBody>
          <a:bodyPr/>
          <a:lstStyle/>
          <a:p>
            <a:endParaRPr lang="en-US"/>
          </a:p>
        </p:txBody>
      </p:sp>
    </p:spTree>
    <p:extLst>
      <p:ext uri="{BB962C8B-B14F-4D97-AF65-F5344CB8AC3E}">
        <p14:creationId xmlns:p14="http://schemas.microsoft.com/office/powerpoint/2010/main" val="9950615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725423"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B14BAEF-6414-F29F-20C3-6435C3B6E3F5}"/>
              </a:ext>
            </a:extLst>
          </p:cNvPr>
          <p:cNvSpPr/>
          <p:nvPr userDrawn="1"/>
        </p:nvSpPr>
        <p:spPr>
          <a:xfrm>
            <a:off x="725423" y="2995017"/>
            <a:ext cx="2446401" cy="7825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1AF0951B-AB25-7F38-17CA-FB08013403C3}"/>
              </a:ext>
            </a:extLst>
          </p:cNvPr>
          <p:cNvSpPr/>
          <p:nvPr userDrawn="1"/>
        </p:nvSpPr>
        <p:spPr>
          <a:xfrm>
            <a:off x="3379851"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234A6D29-1770-B166-4662-ACE950971710}"/>
              </a:ext>
            </a:extLst>
          </p:cNvPr>
          <p:cNvSpPr/>
          <p:nvPr userDrawn="1"/>
        </p:nvSpPr>
        <p:spPr>
          <a:xfrm>
            <a:off x="3379851" y="2995017"/>
            <a:ext cx="2446401"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66374C75-941E-0777-32A1-3D82ED42E1FD}"/>
              </a:ext>
            </a:extLst>
          </p:cNvPr>
          <p:cNvSpPr/>
          <p:nvPr userDrawn="1"/>
        </p:nvSpPr>
        <p:spPr>
          <a:xfrm>
            <a:off x="6096000"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53EDEC89-A0BA-A86D-CE6C-81828F6C029C}"/>
              </a:ext>
            </a:extLst>
          </p:cNvPr>
          <p:cNvSpPr/>
          <p:nvPr userDrawn="1"/>
        </p:nvSpPr>
        <p:spPr>
          <a:xfrm>
            <a:off x="6096000" y="2995017"/>
            <a:ext cx="2446401"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6EF4C9DC-D0F7-1962-7A92-BB1F2F6BFF42}"/>
              </a:ext>
            </a:extLst>
          </p:cNvPr>
          <p:cNvSpPr/>
          <p:nvPr userDrawn="1"/>
        </p:nvSpPr>
        <p:spPr>
          <a:xfrm>
            <a:off x="9020176"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97A4B90-3BDB-5CE1-837E-737ADDD33C47}"/>
              </a:ext>
            </a:extLst>
          </p:cNvPr>
          <p:cNvSpPr/>
          <p:nvPr userDrawn="1"/>
        </p:nvSpPr>
        <p:spPr>
          <a:xfrm>
            <a:off x="9020176" y="2995017"/>
            <a:ext cx="2446401"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945244"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923085"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63" name="Text Placeholder 7">
            <a:extLst>
              <a:ext uri="{FF2B5EF4-FFF2-40B4-BE49-F238E27FC236}">
                <a16:creationId xmlns:a16="http://schemas.microsoft.com/office/drawing/2014/main" id="{89A7A8A9-F97D-6A00-6DAD-8F8AF46B9A12}"/>
              </a:ext>
            </a:extLst>
          </p:cNvPr>
          <p:cNvSpPr>
            <a:spLocks noGrp="1"/>
          </p:cNvSpPr>
          <p:nvPr>
            <p:ph type="body" sz="quarter" idx="16"/>
          </p:nvPr>
        </p:nvSpPr>
        <p:spPr>
          <a:xfrm>
            <a:off x="3599672"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4" name="Text Placeholder 7">
            <a:extLst>
              <a:ext uri="{FF2B5EF4-FFF2-40B4-BE49-F238E27FC236}">
                <a16:creationId xmlns:a16="http://schemas.microsoft.com/office/drawing/2014/main" id="{7D08AFF0-523A-0490-3F35-9326651B0C19}"/>
              </a:ext>
            </a:extLst>
          </p:cNvPr>
          <p:cNvSpPr>
            <a:spLocks noGrp="1"/>
          </p:cNvSpPr>
          <p:nvPr>
            <p:ph type="body" sz="quarter" idx="17"/>
          </p:nvPr>
        </p:nvSpPr>
        <p:spPr>
          <a:xfrm>
            <a:off x="3577513"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5" name="Text Placeholder 7">
            <a:extLst>
              <a:ext uri="{FF2B5EF4-FFF2-40B4-BE49-F238E27FC236}">
                <a16:creationId xmlns:a16="http://schemas.microsoft.com/office/drawing/2014/main" id="{488AB44C-201C-AFA4-B04F-F5F452276B7E}"/>
              </a:ext>
            </a:extLst>
          </p:cNvPr>
          <p:cNvSpPr>
            <a:spLocks noGrp="1"/>
          </p:cNvSpPr>
          <p:nvPr>
            <p:ph type="body" sz="quarter" idx="18"/>
          </p:nvPr>
        </p:nvSpPr>
        <p:spPr>
          <a:xfrm>
            <a:off x="6315821"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6" name="Text Placeholder 7">
            <a:extLst>
              <a:ext uri="{FF2B5EF4-FFF2-40B4-BE49-F238E27FC236}">
                <a16:creationId xmlns:a16="http://schemas.microsoft.com/office/drawing/2014/main" id="{D9C06F46-3FFF-4482-4493-BED8117A8D48}"/>
              </a:ext>
            </a:extLst>
          </p:cNvPr>
          <p:cNvSpPr>
            <a:spLocks noGrp="1"/>
          </p:cNvSpPr>
          <p:nvPr>
            <p:ph type="body" sz="quarter" idx="19"/>
          </p:nvPr>
        </p:nvSpPr>
        <p:spPr>
          <a:xfrm>
            <a:off x="6293662"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7" name="Text Placeholder 7">
            <a:extLst>
              <a:ext uri="{FF2B5EF4-FFF2-40B4-BE49-F238E27FC236}">
                <a16:creationId xmlns:a16="http://schemas.microsoft.com/office/drawing/2014/main" id="{2AFB12A2-230F-3B1E-E6F0-A27FEDF46041}"/>
              </a:ext>
            </a:extLst>
          </p:cNvPr>
          <p:cNvSpPr>
            <a:spLocks noGrp="1"/>
          </p:cNvSpPr>
          <p:nvPr>
            <p:ph type="body" sz="quarter" idx="20"/>
          </p:nvPr>
        </p:nvSpPr>
        <p:spPr>
          <a:xfrm>
            <a:off x="9239997"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8" name="Text Placeholder 7">
            <a:extLst>
              <a:ext uri="{FF2B5EF4-FFF2-40B4-BE49-F238E27FC236}">
                <a16:creationId xmlns:a16="http://schemas.microsoft.com/office/drawing/2014/main" id="{A5A0F647-551C-B9E9-7987-3AB0F1D80F6A}"/>
              </a:ext>
            </a:extLst>
          </p:cNvPr>
          <p:cNvSpPr>
            <a:spLocks noGrp="1"/>
          </p:cNvSpPr>
          <p:nvPr>
            <p:ph type="body" sz="quarter" idx="21"/>
          </p:nvPr>
        </p:nvSpPr>
        <p:spPr>
          <a:xfrm>
            <a:off x="9217838"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Tree>
    <p:extLst>
      <p:ext uri="{BB962C8B-B14F-4D97-AF65-F5344CB8AC3E}">
        <p14:creationId xmlns:p14="http://schemas.microsoft.com/office/powerpoint/2010/main" val="178755200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a:p>
        </p:txBody>
      </p:sp>
    </p:spTree>
    <p:extLst>
      <p:ext uri="{BB962C8B-B14F-4D97-AF65-F5344CB8AC3E}">
        <p14:creationId xmlns:p14="http://schemas.microsoft.com/office/powerpoint/2010/main" val="7948946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cSld name="Pathway Logo">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AEA892D-6B49-4B09-8B95-54B6823C858E}"/>
              </a:ext>
            </a:extLst>
          </p:cNvPr>
          <p:cNvSpPr>
            <a:spLocks noGrp="1"/>
          </p:cNvSpPr>
          <p:nvPr>
            <p:ph type="sldNum" sz="quarter" idx="4"/>
          </p:nvPr>
        </p:nvSpPr>
        <p:spPr>
          <a:xfrm>
            <a:off x="11602656" y="6317438"/>
            <a:ext cx="589344" cy="365125"/>
          </a:xfrm>
          <a:prstGeom prst="rect">
            <a:avLst/>
          </a:prstGeom>
        </p:spPr>
        <p:txBody>
          <a:bodyPr vert="horz" lIns="91440" tIns="45720" rIns="91440" bIns="45720" rtlCol="0" anchor="ctr"/>
          <a:lstStyle>
            <a:lvl1pPr algn="l">
              <a:defRPr sz="1200" b="1">
                <a:solidFill>
                  <a:schemeClr val="bg1"/>
                </a:solidFill>
                <a:latin typeface="Century Gothic" panose="020B0502020202020204" pitchFamily="34" charset="0"/>
              </a:defRPr>
            </a:lvl1pPr>
          </a:lstStyle>
          <a:p>
            <a:fld id="{6CC2FB7E-E9FD-AA44-8101-F627C1923673}" type="slidenum">
              <a:rPr lang="en-US" smtClean="0"/>
              <a:pPr/>
              <a:t>‹#›</a:t>
            </a:fld>
            <a:endParaRPr lang="en-US"/>
          </a:p>
        </p:txBody>
      </p:sp>
      <p:pic>
        <p:nvPicPr>
          <p:cNvPr id="6" name="Graphic 5">
            <a:extLst>
              <a:ext uri="{FF2B5EF4-FFF2-40B4-BE49-F238E27FC236}">
                <a16:creationId xmlns:a16="http://schemas.microsoft.com/office/drawing/2014/main" id="{6E0501C5-E3E7-BDC8-A5FA-F2F66D82F6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538600" y="6218612"/>
            <a:ext cx="2723125" cy="502920"/>
          </a:xfrm>
          <a:prstGeom prst="rect">
            <a:avLst/>
          </a:prstGeom>
        </p:spPr>
      </p:pic>
    </p:spTree>
    <p:extLst>
      <p:ext uri="{BB962C8B-B14F-4D97-AF65-F5344CB8AC3E}">
        <p14:creationId xmlns:p14="http://schemas.microsoft.com/office/powerpoint/2010/main" val="317167536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5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2E6C94E-8216-E849-B03A-712F24271C13}"/>
              </a:ext>
            </a:extLst>
          </p:cNvPr>
          <p:cNvSpPr>
            <a:spLocks noGrp="1"/>
          </p:cNvSpPr>
          <p:nvPr>
            <p:ph type="pic" sz="quarter" idx="15"/>
          </p:nvPr>
        </p:nvSpPr>
        <p:spPr>
          <a:xfrm>
            <a:off x="0" y="0"/>
            <a:ext cx="3992102" cy="685800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9792485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Section-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a:p>
        </p:txBody>
      </p:sp>
    </p:spTree>
    <p:extLst>
      <p:ext uri="{BB962C8B-B14F-4D97-AF65-F5344CB8AC3E}">
        <p14:creationId xmlns:p14="http://schemas.microsoft.com/office/powerpoint/2010/main" val="10938948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Half Strategy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5534212"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sp>
        <p:nvSpPr>
          <p:cNvPr id="2" name="TextBox 1">
            <a:extLst>
              <a:ext uri="{FF2B5EF4-FFF2-40B4-BE49-F238E27FC236}">
                <a16:creationId xmlns:a16="http://schemas.microsoft.com/office/drawing/2014/main" id="{F8BCBEDE-4B9F-A47D-4432-C6D2D80E1EFF}"/>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a:solidFill>
                  <a:srgbClr val="006372"/>
                </a:solidFill>
                <a:latin typeface="+mn-lt"/>
              </a:rPr>
              <a:t>Confidential to Members of The Recycling Partnership</a:t>
            </a:r>
          </a:p>
        </p:txBody>
      </p:sp>
      <p:cxnSp>
        <p:nvCxnSpPr>
          <p:cNvPr id="4" name="Straight Connector 3">
            <a:extLst>
              <a:ext uri="{FF2B5EF4-FFF2-40B4-BE49-F238E27FC236}">
                <a16:creationId xmlns:a16="http://schemas.microsoft.com/office/drawing/2014/main" id="{6F6BD75B-3A53-7C04-DCD1-F4569846DA7C}"/>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50AB8097-7573-E730-4531-7FF93C0E66F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43297" y="6209563"/>
            <a:ext cx="1590581" cy="496145"/>
          </a:xfrm>
          <a:prstGeom prst="rect">
            <a:avLst/>
          </a:prstGeom>
        </p:spPr>
      </p:pic>
    </p:spTree>
    <p:extLst>
      <p:ext uri="{BB962C8B-B14F-4D97-AF65-F5344CB8AC3E}">
        <p14:creationId xmlns:p14="http://schemas.microsoft.com/office/powerpoint/2010/main" val="8437777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rcl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24488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7842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23574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506563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90115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83469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89201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5003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rcl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84415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291412"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75271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443379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881054"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434235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702343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6470696"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693199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9613081"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9060339"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9521641"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1955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2944585" y="2921168"/>
            <a:ext cx="6302829" cy="1015663"/>
          </a:xfrm>
          <a:prstGeom prst="rect">
            <a:avLst/>
          </a:prstGeom>
        </p:spPr>
        <p:txBody>
          <a:bodyPr wrap="square">
            <a:spAutoFit/>
          </a:bodyPr>
          <a:lstStyle>
            <a:lvl1pPr algn="ctr">
              <a:lnSpc>
                <a:spcPct val="100000"/>
              </a:lnSpc>
              <a:defRPr sz="6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3803928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37312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28168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3551682"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3460242"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790879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781735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9666012-D5CA-6C32-71FB-2964CBE18EA3}"/>
              </a:ext>
            </a:extLst>
          </p:cNvPr>
          <p:cNvSpPr>
            <a:spLocks noChangeAspect="1"/>
          </p:cNvSpPr>
          <p:nvPr userDrawn="1"/>
        </p:nvSpPr>
        <p:spPr>
          <a:xfrm>
            <a:off x="1008735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5</a:t>
            </a:r>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32" name="Straight Connector 31">
            <a:extLst>
              <a:ext uri="{FF2B5EF4-FFF2-40B4-BE49-F238E27FC236}">
                <a16:creationId xmlns:a16="http://schemas.microsoft.com/office/drawing/2014/main" id="{DDCD6415-B3BB-A9A4-7D70-A1D58E6730DD}"/>
              </a:ext>
            </a:extLst>
          </p:cNvPr>
          <p:cNvCxnSpPr>
            <a:cxnSpLocks/>
          </p:cNvCxnSpPr>
          <p:nvPr userDrawn="1"/>
        </p:nvCxnSpPr>
        <p:spPr>
          <a:xfrm>
            <a:off x="999591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5166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14483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1202508"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86740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2</a:t>
            </a:r>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2116908"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1</a:t>
            </a:r>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962762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3</a:t>
            </a:r>
          </a:p>
        </p:txBody>
      </p:sp>
      <p:cxnSp>
        <p:nvCxnSpPr>
          <p:cNvPr id="13" name="Straight Connector 12">
            <a:extLst>
              <a:ext uri="{FF2B5EF4-FFF2-40B4-BE49-F238E27FC236}">
                <a16:creationId xmlns:a16="http://schemas.microsoft.com/office/drawing/2014/main" id="{6A25765D-ACEF-715F-7E4D-A68C1BFA2DD9}"/>
              </a:ext>
            </a:extLst>
          </p:cNvPr>
          <p:cNvCxnSpPr>
            <a:stCxn id="7" idx="6"/>
            <a:endCxn id="25" idx="2"/>
          </p:cNvCxnSpPr>
          <p:nvPr userDrawn="1"/>
        </p:nvCxnSpPr>
        <p:spPr>
          <a:xfrm>
            <a:off x="2574108" y="3711915"/>
            <a:ext cx="3293292" cy="0"/>
          </a:xfrm>
          <a:prstGeom prst="line">
            <a:avLst/>
          </a:prstGeom>
          <a:ln w="25400" cap="sq"/>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308A8D2-E977-3D8F-52FF-D20DF2CD568A}"/>
              </a:ext>
            </a:extLst>
          </p:cNvPr>
          <p:cNvCxnSpPr>
            <a:stCxn id="25" idx="6"/>
            <a:endCxn id="22" idx="2"/>
          </p:cNvCxnSpPr>
          <p:nvPr userDrawn="1"/>
        </p:nvCxnSpPr>
        <p:spPr>
          <a:xfrm>
            <a:off x="6324600" y="3711915"/>
            <a:ext cx="3303020" cy="0"/>
          </a:xfrm>
          <a:prstGeom prst="line">
            <a:avLst/>
          </a:prstGeom>
          <a:ln w="25400" cap="sq"/>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370F47DE-4C02-2CFD-9C3C-66C96698C614}"/>
              </a:ext>
            </a:extLst>
          </p:cNvPr>
          <p:cNvSpPr>
            <a:spLocks noGrp="1"/>
          </p:cNvSpPr>
          <p:nvPr>
            <p:ph type="body" sz="quarter" idx="18"/>
          </p:nvPr>
        </p:nvSpPr>
        <p:spPr>
          <a:xfrm>
            <a:off x="1202508"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469D82BB-F286-0712-2FA6-D3D275ED31C4}"/>
              </a:ext>
            </a:extLst>
          </p:cNvPr>
          <p:cNvSpPr>
            <a:spLocks noGrp="1"/>
          </p:cNvSpPr>
          <p:nvPr>
            <p:ph type="body" sz="quarter" idx="19"/>
          </p:nvPr>
        </p:nvSpPr>
        <p:spPr>
          <a:xfrm>
            <a:off x="495300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7F5D9FEC-2077-53B6-966D-FE91C310A318}"/>
              </a:ext>
            </a:extLst>
          </p:cNvPr>
          <p:cNvSpPr>
            <a:spLocks noGrp="1"/>
          </p:cNvSpPr>
          <p:nvPr>
            <p:ph type="body" sz="quarter" idx="20"/>
          </p:nvPr>
        </p:nvSpPr>
        <p:spPr>
          <a:xfrm>
            <a:off x="495300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31" name="Text Placeholder 7">
            <a:extLst>
              <a:ext uri="{FF2B5EF4-FFF2-40B4-BE49-F238E27FC236}">
                <a16:creationId xmlns:a16="http://schemas.microsoft.com/office/drawing/2014/main" id="{0C40B926-F7A9-AEA0-D21E-941E3060CA28}"/>
              </a:ext>
            </a:extLst>
          </p:cNvPr>
          <p:cNvSpPr>
            <a:spLocks noGrp="1"/>
          </p:cNvSpPr>
          <p:nvPr>
            <p:ph type="body" sz="quarter" idx="21"/>
          </p:nvPr>
        </p:nvSpPr>
        <p:spPr>
          <a:xfrm>
            <a:off x="871322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2" name="Text Placeholder 7">
            <a:extLst>
              <a:ext uri="{FF2B5EF4-FFF2-40B4-BE49-F238E27FC236}">
                <a16:creationId xmlns:a16="http://schemas.microsoft.com/office/drawing/2014/main" id="{1AA20646-C4DB-5051-FE4D-CC6B3392F445}"/>
              </a:ext>
            </a:extLst>
          </p:cNvPr>
          <p:cNvSpPr>
            <a:spLocks noGrp="1"/>
          </p:cNvSpPr>
          <p:nvPr>
            <p:ph type="body" sz="quarter" idx="22"/>
          </p:nvPr>
        </p:nvSpPr>
        <p:spPr>
          <a:xfrm>
            <a:off x="871322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Tree>
    <p:extLst>
      <p:ext uri="{BB962C8B-B14F-4D97-AF65-F5344CB8AC3E}">
        <p14:creationId xmlns:p14="http://schemas.microsoft.com/office/powerpoint/2010/main" val="41770694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rds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01AC39-50EF-F537-90B3-A203E16FB12F}"/>
              </a:ext>
            </a:extLst>
          </p:cNvPr>
          <p:cNvSpPr/>
          <p:nvPr userDrawn="1"/>
        </p:nvSpPr>
        <p:spPr>
          <a:xfrm>
            <a:off x="2181429"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6276934"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35453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2985502" y="4260871"/>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408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081007" y="4230300"/>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39049664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704956"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4735403"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7765851"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5626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2000738"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5593079"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5031185"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86235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8061633"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446038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513061"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867314"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6221567"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575820"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061701"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41661"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415954"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4095914"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77020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450167"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24460"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804420" y="4230300"/>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2206043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4724400" y="3607340"/>
            <a:ext cx="27432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49530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0D5519EB-0A28-48E3-336E-75DC0D694BC1}"/>
              </a:ext>
            </a:extLst>
          </p:cNvPr>
          <p:cNvSpPr/>
          <p:nvPr userDrawn="1"/>
        </p:nvSpPr>
        <p:spPr>
          <a:xfrm>
            <a:off x="1981200" y="3607340"/>
            <a:ext cx="27432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9ED7FE08-90C0-A179-06D8-BF78D6660D6B}"/>
              </a:ext>
            </a:extLst>
          </p:cNvPr>
          <p:cNvSpPr>
            <a:spLocks noChangeAspect="1"/>
          </p:cNvSpPr>
          <p:nvPr userDrawn="1"/>
        </p:nvSpPr>
        <p:spPr>
          <a:xfrm>
            <a:off x="30327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3169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22098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0" name="Rectangle 9">
            <a:extLst>
              <a:ext uri="{FF2B5EF4-FFF2-40B4-BE49-F238E27FC236}">
                <a16:creationId xmlns:a16="http://schemas.microsoft.com/office/drawing/2014/main" id="{01670E57-D4BF-1AAD-4F00-CFC172B949EB}"/>
              </a:ext>
            </a:extLst>
          </p:cNvPr>
          <p:cNvSpPr/>
          <p:nvPr userDrawn="1"/>
        </p:nvSpPr>
        <p:spPr>
          <a:xfrm>
            <a:off x="7467600" y="3607340"/>
            <a:ext cx="27432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946952C5-3B30-5CF7-91B9-D5BCBE89A1F5}"/>
              </a:ext>
            </a:extLst>
          </p:cNvPr>
          <p:cNvSpPr>
            <a:spLocks noChangeAspect="1"/>
          </p:cNvSpPr>
          <p:nvPr userDrawn="1"/>
        </p:nvSpPr>
        <p:spPr>
          <a:xfrm>
            <a:off x="85191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8656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mj-lt"/>
              </a:rPr>
              <a:t>3</a:t>
            </a:r>
          </a:p>
        </p:txBody>
      </p:sp>
      <p:sp>
        <p:nvSpPr>
          <p:cNvPr id="27" name="Text Placeholder 7">
            <a:extLst>
              <a:ext uri="{FF2B5EF4-FFF2-40B4-BE49-F238E27FC236}">
                <a16:creationId xmlns:a16="http://schemas.microsoft.com/office/drawing/2014/main" id="{F722B445-20C8-72DC-28DD-41B92ED25975}"/>
              </a:ext>
            </a:extLst>
          </p:cNvPr>
          <p:cNvSpPr>
            <a:spLocks noGrp="1"/>
          </p:cNvSpPr>
          <p:nvPr>
            <p:ph type="body" sz="quarter" idx="18"/>
          </p:nvPr>
        </p:nvSpPr>
        <p:spPr>
          <a:xfrm>
            <a:off x="76962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217007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n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grpSp>
        <p:nvGrpSpPr>
          <p:cNvPr id="15" name="Group 14">
            <a:extLst>
              <a:ext uri="{FF2B5EF4-FFF2-40B4-BE49-F238E27FC236}">
                <a16:creationId xmlns:a16="http://schemas.microsoft.com/office/drawing/2014/main" id="{85A7E188-33E4-E269-6434-F2D1705D22DB}"/>
              </a:ext>
            </a:extLst>
          </p:cNvPr>
          <p:cNvGrpSpPr/>
          <p:nvPr userDrawn="1"/>
        </p:nvGrpSpPr>
        <p:grpSpPr>
          <a:xfrm>
            <a:off x="1419225" y="3355880"/>
            <a:ext cx="2286000" cy="640080"/>
            <a:chOff x="987032" y="3279680"/>
            <a:chExt cx="2286000" cy="64008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987032" y="3531140"/>
              <a:ext cx="228600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1809992" y="32796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1947152" y="34168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grpSp>
      <p:sp>
        <p:nvSpPr>
          <p:cNvPr id="16" name="Text Placeholder 7">
            <a:extLst>
              <a:ext uri="{FF2B5EF4-FFF2-40B4-BE49-F238E27FC236}">
                <a16:creationId xmlns:a16="http://schemas.microsoft.com/office/drawing/2014/main" id="{3952704B-368A-DE61-E747-1D4BBC4F42AA}"/>
              </a:ext>
            </a:extLst>
          </p:cNvPr>
          <p:cNvSpPr>
            <a:spLocks noGrp="1"/>
          </p:cNvSpPr>
          <p:nvPr>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07340"/>
            <a:ext cx="2286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07340"/>
            <a:ext cx="22860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07340"/>
            <a:ext cx="22860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2366014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n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524000" y="3607340"/>
            <a:ext cx="18288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183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2555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068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352800" y="3607340"/>
            <a:ext cx="182880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3947160" y="3355880"/>
            <a:ext cx="640080" cy="6400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084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5"/>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5356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181600" y="3607340"/>
            <a:ext cx="18288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53644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7010400" y="3607340"/>
            <a:ext cx="1828800" cy="137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04760" y="3355880"/>
            <a:ext cx="640080" cy="6400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7741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4"/>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1932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DBED0348-A68C-3BDC-02EA-4ED68BECD2DE}"/>
              </a:ext>
            </a:extLst>
          </p:cNvPr>
          <p:cNvSpPr/>
          <p:nvPr userDrawn="1"/>
        </p:nvSpPr>
        <p:spPr>
          <a:xfrm>
            <a:off x="8839200" y="3607340"/>
            <a:ext cx="18288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1338211E-99BC-FE47-9AE9-9E41D33AB903}"/>
              </a:ext>
            </a:extLst>
          </p:cNvPr>
          <p:cNvSpPr>
            <a:spLocks noChangeAspect="1"/>
          </p:cNvSpPr>
          <p:nvPr userDrawn="1"/>
        </p:nvSpPr>
        <p:spPr>
          <a:xfrm>
            <a:off x="94335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C1439478-20CF-1415-E111-393134249855}"/>
              </a:ext>
            </a:extLst>
          </p:cNvPr>
          <p:cNvSpPr>
            <a:spLocks noChangeAspect="1"/>
          </p:cNvSpPr>
          <p:nvPr userDrawn="1"/>
        </p:nvSpPr>
        <p:spPr>
          <a:xfrm>
            <a:off x="95707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5</a:t>
            </a:r>
          </a:p>
        </p:txBody>
      </p:sp>
      <p:sp>
        <p:nvSpPr>
          <p:cNvPr id="8" name="Text Placeholder 7">
            <a:extLst>
              <a:ext uri="{FF2B5EF4-FFF2-40B4-BE49-F238E27FC236}">
                <a16:creationId xmlns:a16="http://schemas.microsoft.com/office/drawing/2014/main" id="{E1CC260C-504F-6E41-D1D8-20EAE6CE1A0B}"/>
              </a:ext>
            </a:extLst>
          </p:cNvPr>
          <p:cNvSpPr>
            <a:spLocks noGrp="1"/>
          </p:cNvSpPr>
          <p:nvPr userDrawn="1">
            <p:ph type="body" sz="quarter" idx="18"/>
          </p:nvPr>
        </p:nvSpPr>
        <p:spPr>
          <a:xfrm>
            <a:off x="90220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8425269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rategy Bloc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045198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rategy Blocks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439159"/>
            <a:ext cx="2286000" cy="18338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05025" y="29923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00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6412865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
    <p:spTree>
      <p:nvGrpSpPr>
        <p:cNvPr id="1" name=""/>
        <p:cNvGrpSpPr/>
        <p:nvPr/>
      </p:nvGrpSpPr>
      <p:grpSpPr>
        <a:xfrm>
          <a:off x="0" y="0"/>
          <a:ext cx="0" cy="0"/>
          <a:chOff x="0" y="0"/>
          <a:chExt cx="0" cy="0"/>
        </a:xfrm>
      </p:grpSpPr>
      <p:pic>
        <p:nvPicPr>
          <p:cNvPr id="3" name="Picture 2" descr="A picture containing outdoor, trash&#10;&#10;Description automatically generated">
            <a:extLst>
              <a:ext uri="{FF2B5EF4-FFF2-40B4-BE49-F238E27FC236}">
                <a16:creationId xmlns:a16="http://schemas.microsoft.com/office/drawing/2014/main" id="{6E51BEF9-C2AF-766A-A91B-FBB8878DEE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43" y="0"/>
            <a:ext cx="12184913" cy="6858000"/>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38989656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rategy Block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3705225" y="3439159"/>
            <a:ext cx="2286000" cy="18338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4391025" y="29923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4586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2</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3937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9554304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rategy 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5991225" y="3439159"/>
            <a:ext cx="2286000" cy="18338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6677025" y="2992357"/>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6872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3"/>
                </a:solidFill>
                <a:latin typeface="+mj-lt"/>
              </a:rPr>
              <a:t>3</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223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0087072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rategy Block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8241000" y="3439159"/>
            <a:ext cx="2286000" cy="1833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8926800" y="2992357"/>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9122743"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2"/>
                </a:solidFill>
                <a:latin typeface="+mj-lt"/>
              </a:rPr>
              <a:t>4</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8473168"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5955000"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6777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6915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6187168"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5387651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 Strategy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27" name="Rectangle 26">
            <a:extLst>
              <a:ext uri="{FF2B5EF4-FFF2-40B4-BE49-F238E27FC236}">
                <a16:creationId xmlns:a16="http://schemas.microsoft.com/office/drawing/2014/main" id="{BD0D187D-D5D2-A70E-176B-B363136D674D}"/>
              </a:ext>
            </a:extLst>
          </p:cNvPr>
          <p:cNvSpPr/>
          <p:nvPr userDrawn="1"/>
        </p:nvSpPr>
        <p:spPr>
          <a:xfrm rot="5400000">
            <a:off x="6862995" y="2838309"/>
            <a:ext cx="957091"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36462BB9-1B94-41BC-9D24-C82FC55A39F6}"/>
              </a:ext>
            </a:extLst>
          </p:cNvPr>
          <p:cNvGrpSpPr/>
          <p:nvPr userDrawn="1"/>
        </p:nvGrpSpPr>
        <p:grpSpPr>
          <a:xfrm>
            <a:off x="7021500" y="1816733"/>
            <a:ext cx="640080" cy="640080"/>
            <a:chOff x="7021500" y="1816733"/>
            <a:chExt cx="640080" cy="640080"/>
          </a:xfrm>
        </p:grpSpPr>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1816733"/>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189815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1</a:t>
              </a:r>
            </a:p>
          </p:txBody>
        </p:sp>
      </p:grpSp>
      <p:sp>
        <p:nvSpPr>
          <p:cNvPr id="35" name="Rectangle 34">
            <a:extLst>
              <a:ext uri="{FF2B5EF4-FFF2-40B4-BE49-F238E27FC236}">
                <a16:creationId xmlns:a16="http://schemas.microsoft.com/office/drawing/2014/main" id="{820886A3-3CCA-33EB-B2EE-013BA48AF37F}"/>
              </a:ext>
            </a:extLst>
          </p:cNvPr>
          <p:cNvSpPr/>
          <p:nvPr userDrawn="1"/>
        </p:nvSpPr>
        <p:spPr>
          <a:xfrm rot="5400000">
            <a:off x="6863312" y="4340859"/>
            <a:ext cx="956427"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4D667E34-3D8B-8435-A7BF-03557F727A21}"/>
              </a:ext>
            </a:extLst>
          </p:cNvPr>
          <p:cNvGrpSpPr/>
          <p:nvPr userDrawn="1"/>
        </p:nvGrpSpPr>
        <p:grpSpPr>
          <a:xfrm>
            <a:off x="7021485" y="3325493"/>
            <a:ext cx="640080" cy="640080"/>
            <a:chOff x="7021485" y="3775916"/>
            <a:chExt cx="640080" cy="640080"/>
          </a:xfrm>
        </p:grpSpPr>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2</a:t>
              </a:r>
            </a:p>
          </p:txBody>
        </p:sp>
      </p:grpSp>
      <p:grpSp>
        <p:nvGrpSpPr>
          <p:cNvPr id="7" name="Group 6">
            <a:extLst>
              <a:ext uri="{FF2B5EF4-FFF2-40B4-BE49-F238E27FC236}">
                <a16:creationId xmlns:a16="http://schemas.microsoft.com/office/drawing/2014/main" id="{3B82EDB9-4BD3-C3DE-04A3-0A2836A763B2}"/>
              </a:ext>
            </a:extLst>
          </p:cNvPr>
          <p:cNvGrpSpPr/>
          <p:nvPr userDrawn="1"/>
        </p:nvGrpSpPr>
        <p:grpSpPr>
          <a:xfrm>
            <a:off x="7021485" y="4834253"/>
            <a:ext cx="640080" cy="640080"/>
            <a:chOff x="7021485" y="4834253"/>
            <a:chExt cx="640080" cy="640080"/>
          </a:xfrm>
        </p:grpSpPr>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3</a:t>
              </a:r>
            </a:p>
          </p:txBody>
        </p:sp>
      </p:gr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1946039"/>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455781"/>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12682049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lf Strategy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7915309" y="1794618"/>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12" name="Rectangle 11">
            <a:extLst>
              <a:ext uri="{FF2B5EF4-FFF2-40B4-BE49-F238E27FC236}">
                <a16:creationId xmlns:a16="http://schemas.microsoft.com/office/drawing/2014/main" id="{4B4BEC70-7E02-9579-75E9-E3F9A2AEF385}"/>
              </a:ext>
            </a:extLst>
          </p:cNvPr>
          <p:cNvSpPr/>
          <p:nvPr userDrawn="1"/>
        </p:nvSpPr>
        <p:spPr>
          <a:xfrm rot="5400000">
            <a:off x="7092128" y="2443203"/>
            <a:ext cx="498826" cy="972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7021500" y="1659244"/>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7102924" y="1740668"/>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latin typeface="+mj-lt"/>
              </a:rPr>
              <a:t>1</a:t>
            </a:r>
          </a:p>
        </p:txBody>
      </p:sp>
      <p:sp>
        <p:nvSpPr>
          <p:cNvPr id="27" name="Rectangle 26">
            <a:extLst>
              <a:ext uri="{FF2B5EF4-FFF2-40B4-BE49-F238E27FC236}">
                <a16:creationId xmlns:a16="http://schemas.microsoft.com/office/drawing/2014/main" id="{BD0D187D-D5D2-A70E-176B-B363136D674D}"/>
              </a:ext>
            </a:extLst>
          </p:cNvPr>
          <p:cNvSpPr/>
          <p:nvPr userDrawn="1"/>
        </p:nvSpPr>
        <p:spPr>
          <a:xfrm rot="5400000">
            <a:off x="7087896" y="3505771"/>
            <a:ext cx="507290"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27175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2799004"/>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2</a:t>
            </a:r>
          </a:p>
        </p:txBody>
      </p:sp>
      <p:sp>
        <p:nvSpPr>
          <p:cNvPr id="35" name="Rectangle 34">
            <a:extLst>
              <a:ext uri="{FF2B5EF4-FFF2-40B4-BE49-F238E27FC236}">
                <a16:creationId xmlns:a16="http://schemas.microsoft.com/office/drawing/2014/main" id="{820886A3-3CCA-33EB-B2EE-013BA48AF37F}"/>
              </a:ext>
            </a:extLst>
          </p:cNvPr>
          <p:cNvSpPr/>
          <p:nvPr userDrawn="1"/>
        </p:nvSpPr>
        <p:spPr>
          <a:xfrm rot="5400000">
            <a:off x="7087221" y="4564767"/>
            <a:ext cx="508610"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3</a:t>
            </a:r>
          </a:p>
        </p:txBody>
      </p:sp>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4</a:t>
            </a:r>
          </a:p>
        </p:txBody>
      </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2852954"/>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911290"/>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39900808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 Parts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71340"/>
            <a:ext cx="6096000" cy="69293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5637276"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2065388"/>
            <a:ext cx="4364476" cy="584775"/>
          </a:xfrm>
          <a:prstGeom prst="rect">
            <a:avLst/>
          </a:prstGeom>
        </p:spPr>
        <p:txBody>
          <a:bodyPr wrap="square">
            <a:spAutoFit/>
          </a:bodyPr>
          <a:lstStyle>
            <a:lvl1pPr marL="0" indent="0" algn="l">
              <a:lnSpc>
                <a:spcPct val="100000"/>
              </a:lnSpc>
              <a:spcBef>
                <a:spcPts val="0"/>
              </a:spcBef>
              <a:buNone/>
              <a:defRPr sz="3200" b="1">
                <a:solidFill>
                  <a:schemeClr val="bg1"/>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750588" y="1794618"/>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cxnSp>
        <p:nvCxnSpPr>
          <p:cNvPr id="4" name="Straight Connector 3">
            <a:extLst>
              <a:ext uri="{FF2B5EF4-FFF2-40B4-BE49-F238E27FC236}">
                <a16:creationId xmlns:a16="http://schemas.microsoft.com/office/drawing/2014/main" id="{B6B40C76-3F58-2EBC-81E1-360B2A80DFF6}"/>
              </a:ext>
            </a:extLst>
          </p:cNvPr>
          <p:cNvCxnSpPr>
            <a:cxnSpLocks/>
          </p:cNvCxnSpPr>
          <p:nvPr userDrawn="1"/>
        </p:nvCxnSpPr>
        <p:spPr>
          <a:xfrm>
            <a:off x="6096000" y="731520"/>
            <a:ext cx="563727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FC69D76-5279-ECCC-CCE4-79354438BDB5}"/>
              </a:ext>
            </a:extLst>
          </p:cNvPr>
          <p:cNvSpPr>
            <a:spLocks noGrp="1"/>
          </p:cNvSpPr>
          <p:nvPr>
            <p:ph type="body" sz="quarter" idx="18"/>
          </p:nvPr>
        </p:nvSpPr>
        <p:spPr>
          <a:xfrm>
            <a:off x="865762" y="1594563"/>
            <a:ext cx="4364476" cy="400110"/>
          </a:xfrm>
          <a:prstGeom prst="rect">
            <a:avLst/>
          </a:prstGeom>
        </p:spPr>
        <p:txBody>
          <a:bodyPr wrap="square">
            <a:spAutoFit/>
          </a:bodyPr>
          <a:lstStyle>
            <a:lvl1pPr marL="0" indent="0" algn="l">
              <a:lnSpc>
                <a:spcPct val="100000"/>
              </a:lnSpc>
              <a:spcBef>
                <a:spcPts val="0"/>
              </a:spcBef>
              <a:buNone/>
              <a:defRPr sz="2000" b="1">
                <a:solidFill>
                  <a:schemeClr val="accent2"/>
                </a:solidFill>
                <a:latin typeface="+mj-lt"/>
              </a:defRPr>
            </a:lvl1pPr>
          </a:lstStyle>
          <a:p>
            <a:pPr lvl="0"/>
            <a:endParaRPr lang="en-US"/>
          </a:p>
        </p:txBody>
      </p:sp>
      <p:sp>
        <p:nvSpPr>
          <p:cNvPr id="11" name="Rectangle: Rounded Corners 10">
            <a:extLst>
              <a:ext uri="{FF2B5EF4-FFF2-40B4-BE49-F238E27FC236}">
                <a16:creationId xmlns:a16="http://schemas.microsoft.com/office/drawing/2014/main" id="{5AB949BC-78B6-7A97-06FD-1A05AA5A4F5F}"/>
              </a:ext>
            </a:extLst>
          </p:cNvPr>
          <p:cNvSpPr/>
          <p:nvPr userDrawn="1"/>
        </p:nvSpPr>
        <p:spPr>
          <a:xfrm>
            <a:off x="6828409" y="1390182"/>
            <a:ext cx="996412" cy="3463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One</a:t>
            </a:r>
          </a:p>
        </p:txBody>
      </p:sp>
      <p:sp>
        <p:nvSpPr>
          <p:cNvPr id="17" name="Text Placeholder 7">
            <a:extLst>
              <a:ext uri="{FF2B5EF4-FFF2-40B4-BE49-F238E27FC236}">
                <a16:creationId xmlns:a16="http://schemas.microsoft.com/office/drawing/2014/main" id="{CED1B20A-FC75-6760-9BC5-48562491CF9E}"/>
              </a:ext>
            </a:extLst>
          </p:cNvPr>
          <p:cNvSpPr>
            <a:spLocks noGrp="1"/>
          </p:cNvSpPr>
          <p:nvPr>
            <p:ph type="body" sz="quarter" idx="19"/>
          </p:nvPr>
        </p:nvSpPr>
        <p:spPr>
          <a:xfrm>
            <a:off x="6750588" y="331665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18" name="Rectangle: Rounded Corners 17">
            <a:extLst>
              <a:ext uri="{FF2B5EF4-FFF2-40B4-BE49-F238E27FC236}">
                <a16:creationId xmlns:a16="http://schemas.microsoft.com/office/drawing/2014/main" id="{F8D5C1C1-F6FB-9AA3-A214-DC766DB82544}"/>
              </a:ext>
            </a:extLst>
          </p:cNvPr>
          <p:cNvSpPr/>
          <p:nvPr userDrawn="1"/>
        </p:nvSpPr>
        <p:spPr>
          <a:xfrm>
            <a:off x="6828409" y="2912220"/>
            <a:ext cx="996412" cy="34635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wo</a:t>
            </a:r>
          </a:p>
        </p:txBody>
      </p:sp>
      <p:sp>
        <p:nvSpPr>
          <p:cNvPr id="19" name="Text Placeholder 7">
            <a:extLst>
              <a:ext uri="{FF2B5EF4-FFF2-40B4-BE49-F238E27FC236}">
                <a16:creationId xmlns:a16="http://schemas.microsoft.com/office/drawing/2014/main" id="{78B71EFF-3361-06F3-0D3C-58C7704130AF}"/>
              </a:ext>
            </a:extLst>
          </p:cNvPr>
          <p:cNvSpPr>
            <a:spLocks noGrp="1"/>
          </p:cNvSpPr>
          <p:nvPr>
            <p:ph type="body" sz="quarter" idx="20"/>
          </p:nvPr>
        </p:nvSpPr>
        <p:spPr>
          <a:xfrm>
            <a:off x="6750588" y="487871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20" name="Rectangle: Rounded Corners 19">
            <a:extLst>
              <a:ext uri="{FF2B5EF4-FFF2-40B4-BE49-F238E27FC236}">
                <a16:creationId xmlns:a16="http://schemas.microsoft.com/office/drawing/2014/main" id="{BD376073-0EFD-CECD-41ED-C35EF9D43844}"/>
              </a:ext>
            </a:extLst>
          </p:cNvPr>
          <p:cNvSpPr/>
          <p:nvPr userDrawn="1"/>
        </p:nvSpPr>
        <p:spPr>
          <a:xfrm>
            <a:off x="6828409" y="4474280"/>
            <a:ext cx="996412" cy="34635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hree</a:t>
            </a:r>
          </a:p>
        </p:txBody>
      </p:sp>
    </p:spTree>
    <p:extLst>
      <p:ext uri="{BB962C8B-B14F-4D97-AF65-F5344CB8AC3E}">
        <p14:creationId xmlns:p14="http://schemas.microsoft.com/office/powerpoint/2010/main" val="9185697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tx2"/>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061314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7204569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dirty="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7204569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812534"/>
            <a:ext cx="4364476" cy="338554"/>
          </a:xfrm>
          <a:prstGeom prst="rect">
            <a:avLst/>
          </a:prstGeom>
        </p:spPr>
        <p:txBody>
          <a:bodyPr wrap="square" anchor="t" anchorCtr="0">
            <a:spAutoFit/>
          </a:bodyPr>
          <a:lstStyle>
            <a:lvl1pPr marL="0" indent="0" algn="l">
              <a:lnSpc>
                <a:spcPct val="100000"/>
              </a:lnSpc>
              <a:spcBef>
                <a:spcPts val="0"/>
              </a:spcBef>
              <a:buNone/>
              <a:defRPr sz="16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dirty="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
        <p:nvSpPr>
          <p:cNvPr id="2" name="Rectangle 1">
            <a:extLst>
              <a:ext uri="{FF2B5EF4-FFF2-40B4-BE49-F238E27FC236}">
                <a16:creationId xmlns:a16="http://schemas.microsoft.com/office/drawing/2014/main" id="{48560333-1FD5-3D91-F24C-0EC1C3428C69}"/>
              </a:ext>
            </a:extLst>
          </p:cNvPr>
          <p:cNvSpPr/>
          <p:nvPr userDrawn="1"/>
        </p:nvSpPr>
        <p:spPr>
          <a:xfrm>
            <a:off x="0" y="4218112"/>
            <a:ext cx="6096000" cy="2639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7">
            <a:extLst>
              <a:ext uri="{FF2B5EF4-FFF2-40B4-BE49-F238E27FC236}">
                <a16:creationId xmlns:a16="http://schemas.microsoft.com/office/drawing/2014/main" id="{79B1A5AD-E1CF-D826-29DE-10FE11A6EAE2}"/>
              </a:ext>
            </a:extLst>
          </p:cNvPr>
          <p:cNvSpPr>
            <a:spLocks noGrp="1"/>
          </p:cNvSpPr>
          <p:nvPr>
            <p:ph type="body" sz="quarter" idx="19"/>
          </p:nvPr>
        </p:nvSpPr>
        <p:spPr>
          <a:xfrm>
            <a:off x="560264"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7" name="Text Placeholder 7">
            <a:extLst>
              <a:ext uri="{FF2B5EF4-FFF2-40B4-BE49-F238E27FC236}">
                <a16:creationId xmlns:a16="http://schemas.microsoft.com/office/drawing/2014/main" id="{7F1A33B8-DA79-66AD-4075-029620EB7805}"/>
              </a:ext>
            </a:extLst>
          </p:cNvPr>
          <p:cNvSpPr>
            <a:spLocks noGrp="1"/>
          </p:cNvSpPr>
          <p:nvPr>
            <p:ph type="body" sz="quarter" idx="20"/>
          </p:nvPr>
        </p:nvSpPr>
        <p:spPr>
          <a:xfrm>
            <a:off x="45713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7" name="Text Placeholder 7">
            <a:extLst>
              <a:ext uri="{FF2B5EF4-FFF2-40B4-BE49-F238E27FC236}">
                <a16:creationId xmlns:a16="http://schemas.microsoft.com/office/drawing/2014/main" id="{296A4797-99E8-955A-A4A2-6E5E26A8F3B8}"/>
              </a:ext>
            </a:extLst>
          </p:cNvPr>
          <p:cNvSpPr>
            <a:spLocks noGrp="1"/>
          </p:cNvSpPr>
          <p:nvPr>
            <p:ph type="body" sz="quarter" idx="24"/>
          </p:nvPr>
        </p:nvSpPr>
        <p:spPr>
          <a:xfrm>
            <a:off x="416485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8" name="Text Placeholder 7">
            <a:extLst>
              <a:ext uri="{FF2B5EF4-FFF2-40B4-BE49-F238E27FC236}">
                <a16:creationId xmlns:a16="http://schemas.microsoft.com/office/drawing/2014/main" id="{5689A97D-6AA7-A6E9-8332-8E6EEC5E0910}"/>
              </a:ext>
            </a:extLst>
          </p:cNvPr>
          <p:cNvSpPr>
            <a:spLocks noGrp="1"/>
          </p:cNvSpPr>
          <p:nvPr>
            <p:ph type="body" sz="quarter" idx="25"/>
          </p:nvPr>
        </p:nvSpPr>
        <p:spPr>
          <a:xfrm>
            <a:off x="426798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19" name="Text Placeholder 7">
            <a:extLst>
              <a:ext uri="{FF2B5EF4-FFF2-40B4-BE49-F238E27FC236}">
                <a16:creationId xmlns:a16="http://schemas.microsoft.com/office/drawing/2014/main" id="{2F7C3C95-1419-EBCA-6318-90CBF363970F}"/>
              </a:ext>
            </a:extLst>
          </p:cNvPr>
          <p:cNvSpPr>
            <a:spLocks noGrp="1"/>
          </p:cNvSpPr>
          <p:nvPr>
            <p:ph type="body" sz="quarter" idx="26"/>
          </p:nvPr>
        </p:nvSpPr>
        <p:spPr>
          <a:xfrm>
            <a:off x="230806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20" name="Text Placeholder 7">
            <a:extLst>
              <a:ext uri="{FF2B5EF4-FFF2-40B4-BE49-F238E27FC236}">
                <a16:creationId xmlns:a16="http://schemas.microsoft.com/office/drawing/2014/main" id="{E056A348-DCC8-C650-DD74-D71018FC8F04}"/>
              </a:ext>
            </a:extLst>
          </p:cNvPr>
          <p:cNvSpPr>
            <a:spLocks noGrp="1"/>
          </p:cNvSpPr>
          <p:nvPr>
            <p:ph type="body" sz="quarter" idx="27"/>
          </p:nvPr>
        </p:nvSpPr>
        <p:spPr>
          <a:xfrm>
            <a:off x="241119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Tree>
    <p:extLst>
      <p:ext uri="{BB962C8B-B14F-4D97-AF65-F5344CB8AC3E}">
        <p14:creationId xmlns:p14="http://schemas.microsoft.com/office/powerpoint/2010/main" val="685889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F3386C-98A8-F192-0B6D-B9714CA79B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524" y="-1137"/>
            <a:ext cx="12188952" cy="6860274"/>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24782447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277904"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1277904" y="3036292"/>
            <a:ext cx="2970277"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1544798"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1517893"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0" name="Rectangle 9">
            <a:extLst>
              <a:ext uri="{FF2B5EF4-FFF2-40B4-BE49-F238E27FC236}">
                <a16:creationId xmlns:a16="http://schemas.microsoft.com/office/drawing/2014/main" id="{6E3D3E23-32AA-DE51-6F5A-20E45483333C}"/>
              </a:ext>
            </a:extLst>
          </p:cNvPr>
          <p:cNvSpPr/>
          <p:nvPr userDrawn="1"/>
        </p:nvSpPr>
        <p:spPr>
          <a:xfrm>
            <a:off x="4610861"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E575460-E652-2D83-01C3-BF0474493CB6}"/>
              </a:ext>
            </a:extLst>
          </p:cNvPr>
          <p:cNvSpPr/>
          <p:nvPr userDrawn="1"/>
        </p:nvSpPr>
        <p:spPr>
          <a:xfrm>
            <a:off x="4610861" y="3036292"/>
            <a:ext cx="2970277"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7">
            <a:extLst>
              <a:ext uri="{FF2B5EF4-FFF2-40B4-BE49-F238E27FC236}">
                <a16:creationId xmlns:a16="http://schemas.microsoft.com/office/drawing/2014/main" id="{F47A482C-5B81-E3D6-154E-BF9B45CDF02E}"/>
              </a:ext>
            </a:extLst>
          </p:cNvPr>
          <p:cNvSpPr>
            <a:spLocks noGrp="1"/>
          </p:cNvSpPr>
          <p:nvPr>
            <p:ph type="body" sz="quarter" idx="16"/>
          </p:nvPr>
        </p:nvSpPr>
        <p:spPr>
          <a:xfrm>
            <a:off x="4877755"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0C5054D3-4D66-B0E0-1A91-47F28B3D7ECD}"/>
              </a:ext>
            </a:extLst>
          </p:cNvPr>
          <p:cNvSpPr>
            <a:spLocks noGrp="1"/>
          </p:cNvSpPr>
          <p:nvPr>
            <p:ph type="body" sz="quarter" idx="17"/>
          </p:nvPr>
        </p:nvSpPr>
        <p:spPr>
          <a:xfrm>
            <a:off x="4850850"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5" name="Rectangle 14">
            <a:extLst>
              <a:ext uri="{FF2B5EF4-FFF2-40B4-BE49-F238E27FC236}">
                <a16:creationId xmlns:a16="http://schemas.microsoft.com/office/drawing/2014/main" id="{3F5DAF09-56FD-332F-0E73-565A8F27A8EA}"/>
              </a:ext>
            </a:extLst>
          </p:cNvPr>
          <p:cNvSpPr/>
          <p:nvPr userDrawn="1"/>
        </p:nvSpPr>
        <p:spPr>
          <a:xfrm>
            <a:off x="7943819"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B27FFB5-95AD-34D3-6537-CC41516AD206}"/>
              </a:ext>
            </a:extLst>
          </p:cNvPr>
          <p:cNvSpPr/>
          <p:nvPr userDrawn="1"/>
        </p:nvSpPr>
        <p:spPr>
          <a:xfrm>
            <a:off x="7943819" y="3036292"/>
            <a:ext cx="2970277"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7">
            <a:extLst>
              <a:ext uri="{FF2B5EF4-FFF2-40B4-BE49-F238E27FC236}">
                <a16:creationId xmlns:a16="http://schemas.microsoft.com/office/drawing/2014/main" id="{F2F8824C-9CAB-131A-DE2A-AE4832A795AB}"/>
              </a:ext>
            </a:extLst>
          </p:cNvPr>
          <p:cNvSpPr>
            <a:spLocks noGrp="1"/>
          </p:cNvSpPr>
          <p:nvPr>
            <p:ph type="body" sz="quarter" idx="18"/>
          </p:nvPr>
        </p:nvSpPr>
        <p:spPr>
          <a:xfrm>
            <a:off x="8210713"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85BE3C48-B8A0-D8BD-F575-9D99340A862D}"/>
              </a:ext>
            </a:extLst>
          </p:cNvPr>
          <p:cNvSpPr>
            <a:spLocks noGrp="1"/>
          </p:cNvSpPr>
          <p:nvPr>
            <p:ph type="body" sz="quarter" idx="19"/>
          </p:nvPr>
        </p:nvSpPr>
        <p:spPr>
          <a:xfrm>
            <a:off x="8183808"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21" name="Picture Placeholder 20">
            <a:extLst>
              <a:ext uri="{FF2B5EF4-FFF2-40B4-BE49-F238E27FC236}">
                <a16:creationId xmlns:a16="http://schemas.microsoft.com/office/drawing/2014/main" id="{1CA8DDE7-587C-F513-9393-12B07FF5433F}"/>
              </a:ext>
            </a:extLst>
          </p:cNvPr>
          <p:cNvSpPr>
            <a:spLocks noGrp="1"/>
          </p:cNvSpPr>
          <p:nvPr>
            <p:ph type="pic" sz="quarter" idx="20"/>
          </p:nvPr>
        </p:nvSpPr>
        <p:spPr>
          <a:xfrm>
            <a:off x="1277938" y="1210004"/>
            <a:ext cx="2970212" cy="1828800"/>
          </a:xfrm>
          <a:prstGeom prst="rect">
            <a:avLst/>
          </a:prstGeom>
        </p:spPr>
        <p:txBody>
          <a:bodyPr/>
          <a:lstStyle/>
          <a:p>
            <a:endParaRPr lang="en-US" dirty="0"/>
          </a:p>
        </p:txBody>
      </p:sp>
      <p:sp>
        <p:nvSpPr>
          <p:cNvPr id="22" name="Picture Placeholder 20">
            <a:extLst>
              <a:ext uri="{FF2B5EF4-FFF2-40B4-BE49-F238E27FC236}">
                <a16:creationId xmlns:a16="http://schemas.microsoft.com/office/drawing/2014/main" id="{34F27FC6-05F6-3590-A12A-885B7C83BCB0}"/>
              </a:ext>
            </a:extLst>
          </p:cNvPr>
          <p:cNvSpPr>
            <a:spLocks noGrp="1"/>
          </p:cNvSpPr>
          <p:nvPr>
            <p:ph type="pic" sz="quarter" idx="21"/>
          </p:nvPr>
        </p:nvSpPr>
        <p:spPr>
          <a:xfrm>
            <a:off x="4610926" y="1210004"/>
            <a:ext cx="2970212" cy="1828800"/>
          </a:xfrm>
          <a:prstGeom prst="rect">
            <a:avLst/>
          </a:prstGeom>
        </p:spPr>
        <p:txBody>
          <a:bodyPr/>
          <a:lstStyle/>
          <a:p>
            <a:endParaRPr lang="en-US" dirty="0"/>
          </a:p>
        </p:txBody>
      </p:sp>
      <p:sp>
        <p:nvSpPr>
          <p:cNvPr id="23" name="Picture Placeholder 20">
            <a:extLst>
              <a:ext uri="{FF2B5EF4-FFF2-40B4-BE49-F238E27FC236}">
                <a16:creationId xmlns:a16="http://schemas.microsoft.com/office/drawing/2014/main" id="{6662E003-83C4-5AAC-D61C-DA4FDFDA54F9}"/>
              </a:ext>
            </a:extLst>
          </p:cNvPr>
          <p:cNvSpPr>
            <a:spLocks noGrp="1"/>
          </p:cNvSpPr>
          <p:nvPr>
            <p:ph type="pic" sz="quarter" idx="22"/>
          </p:nvPr>
        </p:nvSpPr>
        <p:spPr>
          <a:xfrm>
            <a:off x="7943819" y="1210004"/>
            <a:ext cx="2970211" cy="1828800"/>
          </a:xfrm>
          <a:prstGeom prst="rect">
            <a:avLst/>
          </a:prstGeom>
        </p:spPr>
        <p:txBody>
          <a:bodyPr/>
          <a:lstStyle/>
          <a:p>
            <a:endParaRPr lang="en-US" dirty="0"/>
          </a:p>
        </p:txBody>
      </p:sp>
    </p:spTree>
    <p:extLst>
      <p:ext uri="{BB962C8B-B14F-4D97-AF65-F5344CB8AC3E}">
        <p14:creationId xmlns:p14="http://schemas.microsoft.com/office/powerpoint/2010/main" val="5744770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725423"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725423" y="2995017"/>
            <a:ext cx="2446401" cy="7825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1AF0951B-AB25-7F38-17CA-FB08013403C3}"/>
              </a:ext>
            </a:extLst>
          </p:cNvPr>
          <p:cNvSpPr/>
          <p:nvPr userDrawn="1"/>
        </p:nvSpPr>
        <p:spPr>
          <a:xfrm>
            <a:off x="3379851"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234A6D29-1770-B166-4662-ACE950971710}"/>
              </a:ext>
            </a:extLst>
          </p:cNvPr>
          <p:cNvSpPr/>
          <p:nvPr userDrawn="1"/>
        </p:nvSpPr>
        <p:spPr>
          <a:xfrm>
            <a:off x="3379851" y="2995017"/>
            <a:ext cx="2446401"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66374C75-941E-0777-32A1-3D82ED42E1FD}"/>
              </a:ext>
            </a:extLst>
          </p:cNvPr>
          <p:cNvSpPr/>
          <p:nvPr userDrawn="1"/>
        </p:nvSpPr>
        <p:spPr>
          <a:xfrm>
            <a:off x="6096000"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53EDEC89-A0BA-A86D-CE6C-81828F6C029C}"/>
              </a:ext>
            </a:extLst>
          </p:cNvPr>
          <p:cNvSpPr/>
          <p:nvPr userDrawn="1"/>
        </p:nvSpPr>
        <p:spPr>
          <a:xfrm>
            <a:off x="6096000" y="2995017"/>
            <a:ext cx="2446401"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6EF4C9DC-D0F7-1962-7A92-BB1F2F6BFF42}"/>
              </a:ext>
            </a:extLst>
          </p:cNvPr>
          <p:cNvSpPr/>
          <p:nvPr userDrawn="1"/>
        </p:nvSpPr>
        <p:spPr>
          <a:xfrm>
            <a:off x="9020176"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a:extLst>
              <a:ext uri="{FF2B5EF4-FFF2-40B4-BE49-F238E27FC236}">
                <a16:creationId xmlns:a16="http://schemas.microsoft.com/office/drawing/2014/main" id="{497A4B90-3BDB-5CE1-837E-737ADDD33C47}"/>
              </a:ext>
            </a:extLst>
          </p:cNvPr>
          <p:cNvSpPr/>
          <p:nvPr userDrawn="1"/>
        </p:nvSpPr>
        <p:spPr>
          <a:xfrm>
            <a:off x="9020176" y="2995017"/>
            <a:ext cx="2446401"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945244"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923085"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63" name="Text Placeholder 7">
            <a:extLst>
              <a:ext uri="{FF2B5EF4-FFF2-40B4-BE49-F238E27FC236}">
                <a16:creationId xmlns:a16="http://schemas.microsoft.com/office/drawing/2014/main" id="{89A7A8A9-F97D-6A00-6DAD-8F8AF46B9A12}"/>
              </a:ext>
            </a:extLst>
          </p:cNvPr>
          <p:cNvSpPr>
            <a:spLocks noGrp="1"/>
          </p:cNvSpPr>
          <p:nvPr>
            <p:ph type="body" sz="quarter" idx="16"/>
          </p:nvPr>
        </p:nvSpPr>
        <p:spPr>
          <a:xfrm>
            <a:off x="3599672"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4" name="Text Placeholder 7">
            <a:extLst>
              <a:ext uri="{FF2B5EF4-FFF2-40B4-BE49-F238E27FC236}">
                <a16:creationId xmlns:a16="http://schemas.microsoft.com/office/drawing/2014/main" id="{7D08AFF0-523A-0490-3F35-9326651B0C19}"/>
              </a:ext>
            </a:extLst>
          </p:cNvPr>
          <p:cNvSpPr>
            <a:spLocks noGrp="1"/>
          </p:cNvSpPr>
          <p:nvPr>
            <p:ph type="body" sz="quarter" idx="17"/>
          </p:nvPr>
        </p:nvSpPr>
        <p:spPr>
          <a:xfrm>
            <a:off x="3577513"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5" name="Text Placeholder 7">
            <a:extLst>
              <a:ext uri="{FF2B5EF4-FFF2-40B4-BE49-F238E27FC236}">
                <a16:creationId xmlns:a16="http://schemas.microsoft.com/office/drawing/2014/main" id="{488AB44C-201C-AFA4-B04F-F5F452276B7E}"/>
              </a:ext>
            </a:extLst>
          </p:cNvPr>
          <p:cNvSpPr>
            <a:spLocks noGrp="1"/>
          </p:cNvSpPr>
          <p:nvPr>
            <p:ph type="body" sz="quarter" idx="18"/>
          </p:nvPr>
        </p:nvSpPr>
        <p:spPr>
          <a:xfrm>
            <a:off x="6315821"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6" name="Text Placeholder 7">
            <a:extLst>
              <a:ext uri="{FF2B5EF4-FFF2-40B4-BE49-F238E27FC236}">
                <a16:creationId xmlns:a16="http://schemas.microsoft.com/office/drawing/2014/main" id="{D9C06F46-3FFF-4482-4493-BED8117A8D48}"/>
              </a:ext>
            </a:extLst>
          </p:cNvPr>
          <p:cNvSpPr>
            <a:spLocks noGrp="1"/>
          </p:cNvSpPr>
          <p:nvPr>
            <p:ph type="body" sz="quarter" idx="19"/>
          </p:nvPr>
        </p:nvSpPr>
        <p:spPr>
          <a:xfrm>
            <a:off x="6293662"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7" name="Text Placeholder 7">
            <a:extLst>
              <a:ext uri="{FF2B5EF4-FFF2-40B4-BE49-F238E27FC236}">
                <a16:creationId xmlns:a16="http://schemas.microsoft.com/office/drawing/2014/main" id="{2AFB12A2-230F-3B1E-E6F0-A27FEDF46041}"/>
              </a:ext>
            </a:extLst>
          </p:cNvPr>
          <p:cNvSpPr>
            <a:spLocks noGrp="1"/>
          </p:cNvSpPr>
          <p:nvPr>
            <p:ph type="body" sz="quarter" idx="20"/>
          </p:nvPr>
        </p:nvSpPr>
        <p:spPr>
          <a:xfrm>
            <a:off x="9239997"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8" name="Text Placeholder 7">
            <a:extLst>
              <a:ext uri="{FF2B5EF4-FFF2-40B4-BE49-F238E27FC236}">
                <a16:creationId xmlns:a16="http://schemas.microsoft.com/office/drawing/2014/main" id="{A5A0F647-551C-B9E9-7987-3AB0F1D80F6A}"/>
              </a:ext>
            </a:extLst>
          </p:cNvPr>
          <p:cNvSpPr>
            <a:spLocks noGrp="1"/>
          </p:cNvSpPr>
          <p:nvPr>
            <p:ph type="body" sz="quarter" idx="21"/>
          </p:nvPr>
        </p:nvSpPr>
        <p:spPr>
          <a:xfrm>
            <a:off x="9217838"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Tree>
    <p:extLst>
      <p:ext uri="{BB962C8B-B14F-4D97-AF65-F5344CB8AC3E}">
        <p14:creationId xmlns:p14="http://schemas.microsoft.com/office/powerpoint/2010/main" val="1579486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31334112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_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30887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7465223"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4981171"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2497119"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userDrawn="1">
            <p:ph type="body" sz="quarter" idx="16"/>
          </p:nvPr>
        </p:nvSpPr>
        <p:spPr>
          <a:xfrm>
            <a:off x="2701117"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userDrawn="1">
            <p:ph type="body" sz="quarter" idx="17"/>
          </p:nvPr>
        </p:nvSpPr>
        <p:spPr>
          <a:xfrm>
            <a:off x="2701117"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userDrawn="1">
            <p:ph type="body" sz="quarter" idx="18"/>
          </p:nvPr>
        </p:nvSpPr>
        <p:spPr>
          <a:xfrm>
            <a:off x="5185168"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userDrawn="1">
            <p:ph type="body" sz="quarter" idx="19"/>
          </p:nvPr>
        </p:nvSpPr>
        <p:spPr>
          <a:xfrm>
            <a:off x="5185168"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userDrawn="1">
            <p:ph type="body" sz="quarter" idx="20"/>
          </p:nvPr>
        </p:nvSpPr>
        <p:spPr>
          <a:xfrm>
            <a:off x="7669220"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userDrawn="1">
            <p:ph type="body" sz="quarter" idx="21"/>
          </p:nvPr>
        </p:nvSpPr>
        <p:spPr>
          <a:xfrm>
            <a:off x="7669220"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0408902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8707247"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6223195"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3739144"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71D643BF-12B5-D8DA-918D-35F5BA042149}"/>
              </a:ext>
            </a:extLst>
          </p:cNvPr>
          <p:cNvGrpSpPr/>
          <p:nvPr userDrawn="1"/>
        </p:nvGrpSpPr>
        <p:grpSpPr>
          <a:xfrm>
            <a:off x="1255093" y="2714057"/>
            <a:ext cx="2229660" cy="2840476"/>
            <a:chOff x="1447395" y="3210128"/>
            <a:chExt cx="2229660" cy="2840476"/>
          </a:xfrm>
        </p:grpSpPr>
        <p:sp>
          <p:nvSpPr>
            <p:cNvPr id="18" name="Rectangle 17">
              <a:extLst>
                <a:ext uri="{FF2B5EF4-FFF2-40B4-BE49-F238E27FC236}">
                  <a16:creationId xmlns:a16="http://schemas.microsoft.com/office/drawing/2014/main" id="{B21424DD-E2C0-41B0-4892-3FD3A6D31AE6}"/>
                </a:ext>
              </a:extLst>
            </p:cNvPr>
            <p:cNvSpPr/>
            <p:nvPr userDrawn="1"/>
          </p:nvSpPr>
          <p:spPr>
            <a:xfrm>
              <a:off x="1447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8D27915-D1F7-0C39-1419-848DE3329803}"/>
                </a:ext>
              </a:extLst>
            </p:cNvPr>
            <p:cNvSpPr>
              <a:spLocks noChangeAspect="1"/>
            </p:cNvSpPr>
            <p:nvPr userDrawn="1"/>
          </p:nvSpPr>
          <p:spPr>
            <a:xfrm>
              <a:off x="2105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C2081DE7-427F-F142-2C74-60784BAF5958}"/>
                </a:ext>
              </a:extLst>
            </p:cNvPr>
            <p:cNvSpPr/>
            <p:nvPr userDrawn="1"/>
          </p:nvSpPr>
          <p:spPr>
            <a:xfrm>
              <a:off x="1447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3" name="Text Placeholder 7">
            <a:extLst>
              <a:ext uri="{FF2B5EF4-FFF2-40B4-BE49-F238E27FC236}">
                <a16:creationId xmlns:a16="http://schemas.microsoft.com/office/drawing/2014/main" id="{1DA6BA86-7840-F2D1-ECFB-C92928014005}"/>
              </a:ext>
            </a:extLst>
          </p:cNvPr>
          <p:cNvSpPr>
            <a:spLocks noGrp="1"/>
          </p:cNvSpPr>
          <p:nvPr>
            <p:ph type="body" sz="quarter" idx="14"/>
          </p:nvPr>
        </p:nvSpPr>
        <p:spPr>
          <a:xfrm>
            <a:off x="1459091"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B0019762-7756-4C09-6E38-E931352BA382}"/>
              </a:ext>
            </a:extLst>
          </p:cNvPr>
          <p:cNvSpPr>
            <a:spLocks noGrp="1"/>
          </p:cNvSpPr>
          <p:nvPr>
            <p:ph type="body" sz="quarter" idx="15"/>
          </p:nvPr>
        </p:nvSpPr>
        <p:spPr>
          <a:xfrm>
            <a:off x="1459091"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p:ph type="body" sz="quarter" idx="16"/>
          </p:nvPr>
        </p:nvSpPr>
        <p:spPr>
          <a:xfrm>
            <a:off x="3943142"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p:ph type="body" sz="quarter" idx="17"/>
          </p:nvPr>
        </p:nvSpPr>
        <p:spPr>
          <a:xfrm>
            <a:off x="3943142"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p:ph type="body" sz="quarter" idx="18"/>
          </p:nvPr>
        </p:nvSpPr>
        <p:spPr>
          <a:xfrm>
            <a:off x="6427193"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p:ph type="body" sz="quarter" idx="19"/>
          </p:nvPr>
        </p:nvSpPr>
        <p:spPr>
          <a:xfrm>
            <a:off x="6427193"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p:ph type="body" sz="quarter" idx="20"/>
          </p:nvPr>
        </p:nvSpPr>
        <p:spPr>
          <a:xfrm>
            <a:off x="8911245"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p:ph type="body" sz="quarter" idx="21"/>
          </p:nvPr>
        </p:nvSpPr>
        <p:spPr>
          <a:xfrm>
            <a:off x="8911245"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29400505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rd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grpSp>
        <p:nvGrpSpPr>
          <p:cNvPr id="37" name="Group 36">
            <a:extLst>
              <a:ext uri="{FF2B5EF4-FFF2-40B4-BE49-F238E27FC236}">
                <a16:creationId xmlns:a16="http://schemas.microsoft.com/office/drawing/2014/main" id="{F7FC0A56-DEC2-F27A-D955-25A62F5F2C3D}"/>
              </a:ext>
            </a:extLst>
          </p:cNvPr>
          <p:cNvGrpSpPr/>
          <p:nvPr userDrawn="1"/>
        </p:nvGrpSpPr>
        <p:grpSpPr>
          <a:xfrm>
            <a:off x="9639298" y="2707125"/>
            <a:ext cx="2093978" cy="2840476"/>
            <a:chOff x="9639298" y="2707125"/>
            <a:chExt cx="2093978" cy="2840476"/>
          </a:xfrm>
        </p:grpSpPr>
        <p:sp>
          <p:nvSpPr>
            <p:cNvPr id="32" name="Rectangle 31">
              <a:extLst>
                <a:ext uri="{FF2B5EF4-FFF2-40B4-BE49-F238E27FC236}">
                  <a16:creationId xmlns:a16="http://schemas.microsoft.com/office/drawing/2014/main" id="{6204AD10-D1B0-4FAD-5A0D-FCE6ED050A04}"/>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0E033368-E47D-01FB-6315-3BC8B595D608}"/>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602EAEB-B21D-CAE5-9534-8272DD8CAAE3}"/>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7">
            <a:extLst>
              <a:ext uri="{FF2B5EF4-FFF2-40B4-BE49-F238E27FC236}">
                <a16:creationId xmlns:a16="http://schemas.microsoft.com/office/drawing/2014/main" id="{8E342E35-3B3E-E874-A2E9-0D42AC5C10BC}"/>
              </a:ext>
            </a:extLst>
          </p:cNvPr>
          <p:cNvSpPr>
            <a:spLocks noGrp="1"/>
          </p:cNvSpPr>
          <p:nvPr userDrawn="1">
            <p:ph type="body" sz="quarter" idx="22"/>
          </p:nvPr>
        </p:nvSpPr>
        <p:spPr>
          <a:xfrm>
            <a:off x="9797693"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6" name="Text Placeholder 7">
            <a:extLst>
              <a:ext uri="{FF2B5EF4-FFF2-40B4-BE49-F238E27FC236}">
                <a16:creationId xmlns:a16="http://schemas.microsoft.com/office/drawing/2014/main" id="{941A491F-D611-97A1-16C2-EACCA685A23A}"/>
              </a:ext>
            </a:extLst>
          </p:cNvPr>
          <p:cNvSpPr>
            <a:spLocks noGrp="1"/>
          </p:cNvSpPr>
          <p:nvPr userDrawn="1">
            <p:ph type="body" sz="quarter" idx="23"/>
          </p:nvPr>
        </p:nvSpPr>
        <p:spPr>
          <a:xfrm>
            <a:off x="9797693"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grpSp>
        <p:nvGrpSpPr>
          <p:cNvPr id="38" name="Group 37">
            <a:extLst>
              <a:ext uri="{FF2B5EF4-FFF2-40B4-BE49-F238E27FC236}">
                <a16:creationId xmlns:a16="http://schemas.microsoft.com/office/drawing/2014/main" id="{6E92408C-C386-D3D7-C0C6-02D217147929}"/>
              </a:ext>
            </a:extLst>
          </p:cNvPr>
          <p:cNvGrpSpPr/>
          <p:nvPr userDrawn="1"/>
        </p:nvGrpSpPr>
        <p:grpSpPr>
          <a:xfrm>
            <a:off x="458724" y="2707125"/>
            <a:ext cx="2093978" cy="2840476"/>
            <a:chOff x="9639298" y="2707125"/>
            <a:chExt cx="2093978" cy="2840476"/>
          </a:xfrm>
        </p:grpSpPr>
        <p:sp>
          <p:nvSpPr>
            <p:cNvPr id="39" name="Rectangle 38">
              <a:extLst>
                <a:ext uri="{FF2B5EF4-FFF2-40B4-BE49-F238E27FC236}">
                  <a16:creationId xmlns:a16="http://schemas.microsoft.com/office/drawing/2014/main" id="{CCA3DB6C-178B-D68B-C734-D9F557912250}"/>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C709E21D-F972-067F-240A-66CC3781CBDD}"/>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53CC2F9-5B59-5AD2-31F8-5E59DA708324}"/>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a:extLst>
              <a:ext uri="{FF2B5EF4-FFF2-40B4-BE49-F238E27FC236}">
                <a16:creationId xmlns:a16="http://schemas.microsoft.com/office/drawing/2014/main" id="{9178E63C-A2A5-728A-9E04-DF2F7510238A}"/>
              </a:ext>
            </a:extLst>
          </p:cNvPr>
          <p:cNvGrpSpPr/>
          <p:nvPr userDrawn="1"/>
        </p:nvGrpSpPr>
        <p:grpSpPr>
          <a:xfrm>
            <a:off x="7344153" y="2707125"/>
            <a:ext cx="2093978" cy="2840476"/>
            <a:chOff x="9639298" y="2707125"/>
            <a:chExt cx="2093978" cy="2840476"/>
          </a:xfrm>
        </p:grpSpPr>
        <p:sp>
          <p:nvSpPr>
            <p:cNvPr id="43" name="Rectangle 42">
              <a:extLst>
                <a:ext uri="{FF2B5EF4-FFF2-40B4-BE49-F238E27FC236}">
                  <a16:creationId xmlns:a16="http://schemas.microsoft.com/office/drawing/2014/main" id="{205618B5-AE85-695F-49F9-EADAF8030169}"/>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D09DBB92-28B4-9403-ED53-E872138A238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7B8D855F-50E1-6C69-4530-7DEEE17174BF}"/>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Group 45">
            <a:extLst>
              <a:ext uri="{FF2B5EF4-FFF2-40B4-BE49-F238E27FC236}">
                <a16:creationId xmlns:a16="http://schemas.microsoft.com/office/drawing/2014/main" id="{A0E8C2C3-C43D-6A9F-D68D-03FAA7B51B52}"/>
              </a:ext>
            </a:extLst>
          </p:cNvPr>
          <p:cNvGrpSpPr/>
          <p:nvPr userDrawn="1"/>
        </p:nvGrpSpPr>
        <p:grpSpPr>
          <a:xfrm>
            <a:off x="5049010" y="2707125"/>
            <a:ext cx="2093978" cy="2840476"/>
            <a:chOff x="9639298" y="2707125"/>
            <a:chExt cx="2093978" cy="2840476"/>
          </a:xfrm>
        </p:grpSpPr>
        <p:sp>
          <p:nvSpPr>
            <p:cNvPr id="47" name="Rectangle 46">
              <a:extLst>
                <a:ext uri="{FF2B5EF4-FFF2-40B4-BE49-F238E27FC236}">
                  <a16:creationId xmlns:a16="http://schemas.microsoft.com/office/drawing/2014/main" id="{0626428E-EE03-7D80-D795-F605EEEBE611}"/>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9883EDEA-DA49-FBE3-408C-9BD3DC4F99DE}"/>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6D651B70-40BB-55F1-72AB-9B546F3D7650}"/>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0" name="Group 49">
            <a:extLst>
              <a:ext uri="{FF2B5EF4-FFF2-40B4-BE49-F238E27FC236}">
                <a16:creationId xmlns:a16="http://schemas.microsoft.com/office/drawing/2014/main" id="{63138260-91B3-0D50-EDB5-BE4DAD41F8CB}"/>
              </a:ext>
            </a:extLst>
          </p:cNvPr>
          <p:cNvGrpSpPr/>
          <p:nvPr userDrawn="1"/>
        </p:nvGrpSpPr>
        <p:grpSpPr>
          <a:xfrm>
            <a:off x="2753867" y="2707125"/>
            <a:ext cx="2093978" cy="2840476"/>
            <a:chOff x="9639298" y="2707125"/>
            <a:chExt cx="2093978" cy="2840476"/>
          </a:xfrm>
        </p:grpSpPr>
        <p:sp>
          <p:nvSpPr>
            <p:cNvPr id="51" name="Rectangle 50">
              <a:extLst>
                <a:ext uri="{FF2B5EF4-FFF2-40B4-BE49-F238E27FC236}">
                  <a16:creationId xmlns:a16="http://schemas.microsoft.com/office/drawing/2014/main" id="{DA1F3357-6A96-9D93-36A9-F1828879A6DE}"/>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9E5C6387-F334-EF1F-4234-C9BFFAEEDAF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7114BFE0-9DA4-F591-760F-FB6B45A80B8B}"/>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Text Placeholder 7">
            <a:extLst>
              <a:ext uri="{FF2B5EF4-FFF2-40B4-BE49-F238E27FC236}">
                <a16:creationId xmlns:a16="http://schemas.microsoft.com/office/drawing/2014/main" id="{042ED969-DC44-7C31-DBA6-0A656CEF5DBA}"/>
              </a:ext>
            </a:extLst>
          </p:cNvPr>
          <p:cNvSpPr>
            <a:spLocks noGrp="1"/>
          </p:cNvSpPr>
          <p:nvPr>
            <p:ph type="body" sz="quarter" idx="24"/>
          </p:nvPr>
        </p:nvSpPr>
        <p:spPr>
          <a:xfrm>
            <a:off x="7502547"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5" name="Text Placeholder 7">
            <a:extLst>
              <a:ext uri="{FF2B5EF4-FFF2-40B4-BE49-F238E27FC236}">
                <a16:creationId xmlns:a16="http://schemas.microsoft.com/office/drawing/2014/main" id="{30D581CD-5D21-6A48-0246-BF07C8EB7F5C}"/>
              </a:ext>
            </a:extLst>
          </p:cNvPr>
          <p:cNvSpPr>
            <a:spLocks noGrp="1"/>
          </p:cNvSpPr>
          <p:nvPr>
            <p:ph type="body" sz="quarter" idx="25"/>
          </p:nvPr>
        </p:nvSpPr>
        <p:spPr>
          <a:xfrm>
            <a:off x="7502547"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6" name="Text Placeholder 7">
            <a:extLst>
              <a:ext uri="{FF2B5EF4-FFF2-40B4-BE49-F238E27FC236}">
                <a16:creationId xmlns:a16="http://schemas.microsoft.com/office/drawing/2014/main" id="{34BA5EFA-538E-9B80-C7ED-B686E6E2C673}"/>
              </a:ext>
            </a:extLst>
          </p:cNvPr>
          <p:cNvSpPr>
            <a:spLocks noGrp="1"/>
          </p:cNvSpPr>
          <p:nvPr>
            <p:ph type="body" sz="quarter" idx="26"/>
          </p:nvPr>
        </p:nvSpPr>
        <p:spPr>
          <a:xfrm>
            <a:off x="5207405"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7" name="Text Placeholder 7">
            <a:extLst>
              <a:ext uri="{FF2B5EF4-FFF2-40B4-BE49-F238E27FC236}">
                <a16:creationId xmlns:a16="http://schemas.microsoft.com/office/drawing/2014/main" id="{580BA9A7-9445-E2BF-1A02-47075E0A4C69}"/>
              </a:ext>
            </a:extLst>
          </p:cNvPr>
          <p:cNvSpPr>
            <a:spLocks noGrp="1"/>
          </p:cNvSpPr>
          <p:nvPr>
            <p:ph type="body" sz="quarter" idx="27"/>
          </p:nvPr>
        </p:nvSpPr>
        <p:spPr>
          <a:xfrm>
            <a:off x="5207405"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8" name="Text Placeholder 7">
            <a:extLst>
              <a:ext uri="{FF2B5EF4-FFF2-40B4-BE49-F238E27FC236}">
                <a16:creationId xmlns:a16="http://schemas.microsoft.com/office/drawing/2014/main" id="{AB2FA8B3-D259-F20F-2583-BF33B22E641F}"/>
              </a:ext>
            </a:extLst>
          </p:cNvPr>
          <p:cNvSpPr>
            <a:spLocks noGrp="1"/>
          </p:cNvSpPr>
          <p:nvPr>
            <p:ph type="body" sz="quarter" idx="28"/>
          </p:nvPr>
        </p:nvSpPr>
        <p:spPr>
          <a:xfrm>
            <a:off x="2912259"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9" name="Text Placeholder 7">
            <a:extLst>
              <a:ext uri="{FF2B5EF4-FFF2-40B4-BE49-F238E27FC236}">
                <a16:creationId xmlns:a16="http://schemas.microsoft.com/office/drawing/2014/main" id="{43846753-4575-FB01-C613-FF1C4ACBEDDC}"/>
              </a:ext>
            </a:extLst>
          </p:cNvPr>
          <p:cNvSpPr>
            <a:spLocks noGrp="1"/>
          </p:cNvSpPr>
          <p:nvPr>
            <p:ph type="body" sz="quarter" idx="29"/>
          </p:nvPr>
        </p:nvSpPr>
        <p:spPr>
          <a:xfrm>
            <a:off x="2912259"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64" name="Text Placeholder 7">
            <a:extLst>
              <a:ext uri="{FF2B5EF4-FFF2-40B4-BE49-F238E27FC236}">
                <a16:creationId xmlns:a16="http://schemas.microsoft.com/office/drawing/2014/main" id="{9510D576-D1BA-83BD-F97F-8AED822CB19E}"/>
              </a:ext>
            </a:extLst>
          </p:cNvPr>
          <p:cNvSpPr>
            <a:spLocks noGrp="1"/>
          </p:cNvSpPr>
          <p:nvPr>
            <p:ph type="body" sz="quarter" idx="30"/>
          </p:nvPr>
        </p:nvSpPr>
        <p:spPr>
          <a:xfrm>
            <a:off x="617116"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65" name="Text Placeholder 7">
            <a:extLst>
              <a:ext uri="{FF2B5EF4-FFF2-40B4-BE49-F238E27FC236}">
                <a16:creationId xmlns:a16="http://schemas.microsoft.com/office/drawing/2014/main" id="{9116D161-5973-D242-ECF2-DA56885325A3}"/>
              </a:ext>
            </a:extLst>
          </p:cNvPr>
          <p:cNvSpPr>
            <a:spLocks noGrp="1"/>
          </p:cNvSpPr>
          <p:nvPr>
            <p:ph type="body" sz="quarter" idx="31"/>
          </p:nvPr>
        </p:nvSpPr>
        <p:spPr>
          <a:xfrm>
            <a:off x="617116"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6492893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8AA339-F9FB-3A7A-B368-A9FA72CEBEF4}"/>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C836051B-F70C-93BE-6767-ACBBC3D7DD28}"/>
              </a:ext>
            </a:extLst>
          </p:cNvPr>
          <p:cNvGrpSpPr/>
          <p:nvPr userDrawn="1"/>
        </p:nvGrpSpPr>
        <p:grpSpPr>
          <a:xfrm>
            <a:off x="1646232" y="5423646"/>
            <a:ext cx="7128883" cy="740972"/>
            <a:chOff x="2180217" y="5423646"/>
            <a:chExt cx="7128883" cy="740972"/>
          </a:xfrm>
        </p:grpSpPr>
        <p:pic>
          <p:nvPicPr>
            <p:cNvPr id="2" name="Graphic 1">
              <a:extLst>
                <a:ext uri="{FF2B5EF4-FFF2-40B4-BE49-F238E27FC236}">
                  <a16:creationId xmlns:a16="http://schemas.microsoft.com/office/drawing/2014/main" id="{84405EF9-3384-7629-B5C8-7D4E618A27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80217" y="5483435"/>
              <a:ext cx="1953633" cy="609390"/>
            </a:xfrm>
            <a:prstGeom prst="rect">
              <a:avLst/>
            </a:prstGeom>
          </p:spPr>
        </p:pic>
        <p:cxnSp>
          <p:nvCxnSpPr>
            <p:cNvPr id="4" name="Straight Connector 3">
              <a:extLst>
                <a:ext uri="{FF2B5EF4-FFF2-40B4-BE49-F238E27FC236}">
                  <a16:creationId xmlns:a16="http://schemas.microsoft.com/office/drawing/2014/main" id="{CA11A4DE-655C-7642-8310-CAC4EF480331}"/>
                </a:ext>
              </a:extLst>
            </p:cNvPr>
            <p:cNvCxnSpPr/>
            <p:nvPr userDrawn="1"/>
          </p:nvCxnSpPr>
          <p:spPr>
            <a:xfrm>
              <a:off x="4470400" y="5467350"/>
              <a:ext cx="0" cy="6858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F23FA49-A362-DE1A-B88C-D319817DFD2F}"/>
                </a:ext>
              </a:extLst>
            </p:cNvPr>
            <p:cNvSpPr txBox="1"/>
            <p:nvPr userDrawn="1"/>
          </p:nvSpPr>
          <p:spPr>
            <a:xfrm>
              <a:off x="4704348" y="5423646"/>
              <a:ext cx="4604752" cy="740972"/>
            </a:xfrm>
            <a:prstGeom prst="rect">
              <a:avLst/>
            </a:prstGeom>
            <a:noFill/>
          </p:spPr>
          <p:txBody>
            <a:bodyPr wrap="square" rtlCol="0">
              <a:spAutoFit/>
            </a:bodyPr>
            <a:lstStyle/>
            <a:p>
              <a:pPr>
                <a:lnSpc>
                  <a:spcPct val="110000"/>
                </a:lnSpc>
              </a:pPr>
              <a:r>
                <a:rPr lang="en-US" sz="1300" i="0" dirty="0">
                  <a:solidFill>
                    <a:schemeClr val="bg1"/>
                  </a:solidFill>
                  <a:latin typeface="+mn-lt"/>
                  <a:cs typeface="Poppins" panose="00000500000000000000" pitchFamily="2" charset="0"/>
                </a:rPr>
                <a:t>We mobilize people, data, and solutions across the value chain to reduce waste and our impact on the environment while also unlocking economic benefits.</a:t>
              </a:r>
            </a:p>
          </p:txBody>
        </p:sp>
      </p:grpSp>
      <p:sp>
        <p:nvSpPr>
          <p:cNvPr id="8" name="object 12">
            <a:extLst>
              <a:ext uri="{FF2B5EF4-FFF2-40B4-BE49-F238E27FC236}">
                <a16:creationId xmlns:a16="http://schemas.microsoft.com/office/drawing/2014/main" id="{004BD197-4298-48C4-7FF5-A641D01826B2}"/>
              </a:ext>
            </a:extLst>
          </p:cNvPr>
          <p:cNvSpPr txBox="1"/>
          <p:nvPr userDrawn="1"/>
        </p:nvSpPr>
        <p:spPr>
          <a:xfrm>
            <a:off x="1581373" y="1200520"/>
            <a:ext cx="1916570" cy="400110"/>
          </a:xfrm>
          <a:prstGeom prst="rect">
            <a:avLst/>
          </a:prstGeom>
        </p:spPr>
        <p:txBody>
          <a:bodyPr vert="horz" wrap="square" lIns="91440" tIns="45720" rIns="91440" bIns="45720" rtlCol="0">
            <a:spAutoFit/>
          </a:bodyPr>
          <a:lstStyle/>
          <a:p>
            <a:pPr marL="7701">
              <a:spcBef>
                <a:spcPts val="76"/>
              </a:spcBef>
            </a:pPr>
            <a:r>
              <a:rPr sz="2000" b="1" dirty="0">
                <a:solidFill>
                  <a:schemeClr val="accent2"/>
                </a:solidFill>
                <a:latin typeface="+mj-lt"/>
                <a:cs typeface="Roboto"/>
              </a:rPr>
              <a:t>Get</a:t>
            </a:r>
            <a:r>
              <a:rPr sz="2000" b="1" spc="-3" dirty="0">
                <a:solidFill>
                  <a:schemeClr val="accent2"/>
                </a:solidFill>
                <a:latin typeface="+mj-lt"/>
                <a:cs typeface="Roboto"/>
              </a:rPr>
              <a:t> </a:t>
            </a:r>
            <a:r>
              <a:rPr sz="2000" b="1" dirty="0">
                <a:solidFill>
                  <a:schemeClr val="accent2"/>
                </a:solidFill>
                <a:latin typeface="+mj-lt"/>
                <a:cs typeface="Roboto"/>
              </a:rPr>
              <a:t>in</a:t>
            </a:r>
            <a:r>
              <a:rPr sz="2000" b="1" spc="-61" dirty="0">
                <a:solidFill>
                  <a:schemeClr val="accent2"/>
                </a:solidFill>
                <a:latin typeface="+mj-lt"/>
                <a:cs typeface="Roboto"/>
              </a:rPr>
              <a:t> </a:t>
            </a:r>
            <a:r>
              <a:rPr sz="2000" b="1" spc="-21" dirty="0">
                <a:solidFill>
                  <a:schemeClr val="accent2"/>
                </a:solidFill>
                <a:latin typeface="+mj-lt"/>
                <a:cs typeface="Roboto"/>
              </a:rPr>
              <a:t>Touch:</a:t>
            </a:r>
            <a:endParaRPr sz="2000" dirty="0">
              <a:solidFill>
                <a:schemeClr val="accent2"/>
              </a:solidFill>
              <a:latin typeface="+mj-lt"/>
              <a:cs typeface="Roboto"/>
            </a:endParaRPr>
          </a:p>
        </p:txBody>
      </p:sp>
      <p:sp>
        <p:nvSpPr>
          <p:cNvPr id="9" name="Text Placeholder 7">
            <a:extLst>
              <a:ext uri="{FF2B5EF4-FFF2-40B4-BE49-F238E27FC236}">
                <a16:creationId xmlns:a16="http://schemas.microsoft.com/office/drawing/2014/main" id="{93829A09-8E5E-B4C8-63AF-A2D96228EBF0}"/>
              </a:ext>
            </a:extLst>
          </p:cNvPr>
          <p:cNvSpPr>
            <a:spLocks noGrp="1"/>
          </p:cNvSpPr>
          <p:nvPr>
            <p:ph type="body" sz="quarter" idx="12"/>
          </p:nvPr>
        </p:nvSpPr>
        <p:spPr>
          <a:xfrm>
            <a:off x="1581372" y="2077650"/>
            <a:ext cx="7805815" cy="553998"/>
          </a:xfrm>
          <a:prstGeom prst="rect">
            <a:avLst/>
          </a:prstGeom>
        </p:spPr>
        <p:txBody>
          <a:bodyPr wrap="square">
            <a:spAutoFit/>
          </a:bodyPr>
          <a:lstStyle>
            <a:lvl1pPr marL="0" indent="0" algn="l">
              <a:lnSpc>
                <a:spcPct val="100000"/>
              </a:lnSpc>
              <a:spcBef>
                <a:spcPts val="0"/>
              </a:spcBef>
              <a:buNone/>
              <a:defRPr sz="3000" b="1">
                <a:solidFill>
                  <a:schemeClr val="bg1"/>
                </a:solidFill>
                <a:latin typeface="+mj-lt"/>
              </a:defRPr>
            </a:lvl1pPr>
          </a:lstStyle>
          <a:p>
            <a:pPr lvl="0"/>
            <a:endParaRPr lang="en-US"/>
          </a:p>
        </p:txBody>
      </p:sp>
      <p:sp>
        <p:nvSpPr>
          <p:cNvPr id="10" name="Text Placeholder 7">
            <a:extLst>
              <a:ext uri="{FF2B5EF4-FFF2-40B4-BE49-F238E27FC236}">
                <a16:creationId xmlns:a16="http://schemas.microsoft.com/office/drawing/2014/main" id="{5A74FD6B-06DD-BDBA-3CEA-6BBF32A0824A}"/>
              </a:ext>
            </a:extLst>
          </p:cNvPr>
          <p:cNvSpPr>
            <a:spLocks noGrp="1"/>
          </p:cNvSpPr>
          <p:nvPr>
            <p:ph type="body" sz="quarter" idx="13"/>
          </p:nvPr>
        </p:nvSpPr>
        <p:spPr>
          <a:xfrm>
            <a:off x="2142668" y="2825664"/>
            <a:ext cx="7084569" cy="400110"/>
          </a:xfrm>
          <a:prstGeom prst="rect">
            <a:avLst/>
          </a:prstGeom>
        </p:spPr>
        <p:txBody>
          <a:bodyPr wrap="square">
            <a:spAutoFit/>
          </a:bodyPr>
          <a:lstStyle>
            <a:lvl1pPr marL="0" indent="0" algn="l">
              <a:lnSpc>
                <a:spcPct val="100000"/>
              </a:lnSpc>
              <a:spcBef>
                <a:spcPts val="0"/>
              </a:spcBef>
              <a:buNone/>
              <a:defRPr sz="2000" b="1">
                <a:solidFill>
                  <a:schemeClr val="bg1"/>
                </a:solidFill>
                <a:latin typeface="+mj-lt"/>
              </a:defRPr>
            </a:lvl1pPr>
          </a:lstStyle>
          <a:p>
            <a:pPr lvl="0"/>
            <a:endParaRPr lang="en-US"/>
          </a:p>
        </p:txBody>
      </p:sp>
      <p:sp>
        <p:nvSpPr>
          <p:cNvPr id="11" name="Text Placeholder 7">
            <a:extLst>
              <a:ext uri="{FF2B5EF4-FFF2-40B4-BE49-F238E27FC236}">
                <a16:creationId xmlns:a16="http://schemas.microsoft.com/office/drawing/2014/main" id="{6076DA32-F223-36EC-827D-CFB0B7EA1D07}"/>
              </a:ext>
            </a:extLst>
          </p:cNvPr>
          <p:cNvSpPr>
            <a:spLocks noGrp="1"/>
          </p:cNvSpPr>
          <p:nvPr>
            <p:ph type="body" sz="quarter" idx="14"/>
          </p:nvPr>
        </p:nvSpPr>
        <p:spPr>
          <a:xfrm>
            <a:off x="2142668" y="3372410"/>
            <a:ext cx="7084569" cy="400110"/>
          </a:xfrm>
          <a:prstGeom prst="rect">
            <a:avLst/>
          </a:prstGeom>
        </p:spPr>
        <p:txBody>
          <a:bodyPr wrap="square">
            <a:spAutoFit/>
          </a:bodyPr>
          <a:lstStyle>
            <a:lvl1pPr marL="0" indent="0" algn="l">
              <a:lnSpc>
                <a:spcPct val="100000"/>
              </a:lnSpc>
              <a:spcBef>
                <a:spcPts val="0"/>
              </a:spcBef>
              <a:buNone/>
              <a:defRPr sz="2000" b="1">
                <a:solidFill>
                  <a:schemeClr val="bg1"/>
                </a:solidFill>
                <a:latin typeface="+mj-lt"/>
              </a:defRPr>
            </a:lvl1pPr>
          </a:lstStyle>
          <a:p>
            <a:pPr lvl="0"/>
            <a:endParaRPr lang="en-US"/>
          </a:p>
        </p:txBody>
      </p:sp>
      <p:pic>
        <p:nvPicPr>
          <p:cNvPr id="12" name="Graphic 11">
            <a:extLst>
              <a:ext uri="{FF2B5EF4-FFF2-40B4-BE49-F238E27FC236}">
                <a16:creationId xmlns:a16="http://schemas.microsoft.com/office/drawing/2014/main" id="{C7972A7C-1D83-3F66-33F4-C8E05D61C73A}"/>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18802" y="2911419"/>
            <a:ext cx="304800" cy="228600"/>
          </a:xfrm>
          <a:prstGeom prst="rect">
            <a:avLst/>
          </a:prstGeom>
        </p:spPr>
      </p:pic>
      <p:pic>
        <p:nvPicPr>
          <p:cNvPr id="13" name="Graphic 12">
            <a:extLst>
              <a:ext uri="{FF2B5EF4-FFF2-40B4-BE49-F238E27FC236}">
                <a16:creationId xmlns:a16="http://schemas.microsoft.com/office/drawing/2014/main" id="{8A64C39C-FBEA-45AE-7B3E-EB4B909464E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27737" y="3429000"/>
            <a:ext cx="286930" cy="286930"/>
          </a:xfrm>
          <a:prstGeom prst="rect">
            <a:avLst/>
          </a:prstGeom>
        </p:spPr>
      </p:pic>
    </p:spTree>
    <p:extLst>
      <p:ext uri="{BB962C8B-B14F-4D97-AF65-F5344CB8AC3E}">
        <p14:creationId xmlns:p14="http://schemas.microsoft.com/office/powerpoint/2010/main" val="25703755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_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072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7465223"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4981171"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2497119"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userDrawn="1">
            <p:ph type="body" sz="quarter" idx="16"/>
          </p:nvPr>
        </p:nvSpPr>
        <p:spPr>
          <a:xfrm>
            <a:off x="2701117"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userDrawn="1">
            <p:ph type="body" sz="quarter" idx="17"/>
          </p:nvPr>
        </p:nvSpPr>
        <p:spPr>
          <a:xfrm>
            <a:off x="2701117"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userDrawn="1">
            <p:ph type="body" sz="quarter" idx="18"/>
          </p:nvPr>
        </p:nvSpPr>
        <p:spPr>
          <a:xfrm>
            <a:off x="5185168"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userDrawn="1">
            <p:ph type="body" sz="quarter" idx="19"/>
          </p:nvPr>
        </p:nvSpPr>
        <p:spPr>
          <a:xfrm>
            <a:off x="5185168"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userDrawn="1">
            <p:ph type="body" sz="quarter" idx="20"/>
          </p:nvPr>
        </p:nvSpPr>
        <p:spPr>
          <a:xfrm>
            <a:off x="7669220"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userDrawn="1">
            <p:ph type="body" sz="quarter" idx="21"/>
          </p:nvPr>
        </p:nvSpPr>
        <p:spPr>
          <a:xfrm>
            <a:off x="7669220"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9433392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CE89FD-77F5-E93F-5FE8-11D10B46B4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3561"/>
            <a:ext cx="12192000" cy="6850878"/>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1090563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8707247"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6223195"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3739144"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71D643BF-12B5-D8DA-918D-35F5BA042149}"/>
              </a:ext>
            </a:extLst>
          </p:cNvPr>
          <p:cNvGrpSpPr/>
          <p:nvPr userDrawn="1"/>
        </p:nvGrpSpPr>
        <p:grpSpPr>
          <a:xfrm>
            <a:off x="1255093" y="2714057"/>
            <a:ext cx="2229660" cy="2840476"/>
            <a:chOff x="1447395" y="3210128"/>
            <a:chExt cx="2229660" cy="2840476"/>
          </a:xfrm>
        </p:grpSpPr>
        <p:sp>
          <p:nvSpPr>
            <p:cNvPr id="18" name="Rectangle 17">
              <a:extLst>
                <a:ext uri="{FF2B5EF4-FFF2-40B4-BE49-F238E27FC236}">
                  <a16:creationId xmlns:a16="http://schemas.microsoft.com/office/drawing/2014/main" id="{B21424DD-E2C0-41B0-4892-3FD3A6D31AE6}"/>
                </a:ext>
              </a:extLst>
            </p:cNvPr>
            <p:cNvSpPr/>
            <p:nvPr userDrawn="1"/>
          </p:nvSpPr>
          <p:spPr>
            <a:xfrm>
              <a:off x="1447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8D27915-D1F7-0C39-1419-848DE3329803}"/>
                </a:ext>
              </a:extLst>
            </p:cNvPr>
            <p:cNvSpPr>
              <a:spLocks noChangeAspect="1"/>
            </p:cNvSpPr>
            <p:nvPr userDrawn="1"/>
          </p:nvSpPr>
          <p:spPr>
            <a:xfrm>
              <a:off x="2105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C2081DE7-427F-F142-2C74-60784BAF5958}"/>
                </a:ext>
              </a:extLst>
            </p:cNvPr>
            <p:cNvSpPr/>
            <p:nvPr userDrawn="1"/>
          </p:nvSpPr>
          <p:spPr>
            <a:xfrm>
              <a:off x="1447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3" name="Text Placeholder 7">
            <a:extLst>
              <a:ext uri="{FF2B5EF4-FFF2-40B4-BE49-F238E27FC236}">
                <a16:creationId xmlns:a16="http://schemas.microsoft.com/office/drawing/2014/main" id="{1DA6BA86-7840-F2D1-ECFB-C92928014005}"/>
              </a:ext>
            </a:extLst>
          </p:cNvPr>
          <p:cNvSpPr>
            <a:spLocks noGrp="1"/>
          </p:cNvSpPr>
          <p:nvPr>
            <p:ph type="body" sz="quarter" idx="14"/>
          </p:nvPr>
        </p:nvSpPr>
        <p:spPr>
          <a:xfrm>
            <a:off x="1459091"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B0019762-7756-4C09-6E38-E931352BA382}"/>
              </a:ext>
            </a:extLst>
          </p:cNvPr>
          <p:cNvSpPr>
            <a:spLocks noGrp="1"/>
          </p:cNvSpPr>
          <p:nvPr>
            <p:ph type="body" sz="quarter" idx="15"/>
          </p:nvPr>
        </p:nvSpPr>
        <p:spPr>
          <a:xfrm>
            <a:off x="1459091"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p:ph type="body" sz="quarter" idx="16"/>
          </p:nvPr>
        </p:nvSpPr>
        <p:spPr>
          <a:xfrm>
            <a:off x="3943142"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p:ph type="body" sz="quarter" idx="17"/>
          </p:nvPr>
        </p:nvSpPr>
        <p:spPr>
          <a:xfrm>
            <a:off x="3943142"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p:ph type="body" sz="quarter" idx="18"/>
          </p:nvPr>
        </p:nvSpPr>
        <p:spPr>
          <a:xfrm>
            <a:off x="6427193"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p:ph type="body" sz="quarter" idx="19"/>
          </p:nvPr>
        </p:nvSpPr>
        <p:spPr>
          <a:xfrm>
            <a:off x="6427193"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p:ph type="body" sz="quarter" idx="20"/>
          </p:nvPr>
        </p:nvSpPr>
        <p:spPr>
          <a:xfrm>
            <a:off x="8911245"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p:ph type="body" sz="quarter" idx="21"/>
          </p:nvPr>
        </p:nvSpPr>
        <p:spPr>
          <a:xfrm>
            <a:off x="8911245"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26766343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rd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grpSp>
        <p:nvGrpSpPr>
          <p:cNvPr id="37" name="Group 36">
            <a:extLst>
              <a:ext uri="{FF2B5EF4-FFF2-40B4-BE49-F238E27FC236}">
                <a16:creationId xmlns:a16="http://schemas.microsoft.com/office/drawing/2014/main" id="{F7FC0A56-DEC2-F27A-D955-25A62F5F2C3D}"/>
              </a:ext>
            </a:extLst>
          </p:cNvPr>
          <p:cNvGrpSpPr/>
          <p:nvPr userDrawn="1"/>
        </p:nvGrpSpPr>
        <p:grpSpPr>
          <a:xfrm>
            <a:off x="9639298" y="2707125"/>
            <a:ext cx="2093978" cy="2840476"/>
            <a:chOff x="9639298" y="2707125"/>
            <a:chExt cx="2093978" cy="2840476"/>
          </a:xfrm>
        </p:grpSpPr>
        <p:sp>
          <p:nvSpPr>
            <p:cNvPr id="32" name="Rectangle 31">
              <a:extLst>
                <a:ext uri="{FF2B5EF4-FFF2-40B4-BE49-F238E27FC236}">
                  <a16:creationId xmlns:a16="http://schemas.microsoft.com/office/drawing/2014/main" id="{6204AD10-D1B0-4FAD-5A0D-FCE6ED050A04}"/>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0E033368-E47D-01FB-6315-3BC8B595D608}"/>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602EAEB-B21D-CAE5-9534-8272DD8CAAE3}"/>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7">
            <a:extLst>
              <a:ext uri="{FF2B5EF4-FFF2-40B4-BE49-F238E27FC236}">
                <a16:creationId xmlns:a16="http://schemas.microsoft.com/office/drawing/2014/main" id="{8E342E35-3B3E-E874-A2E9-0D42AC5C10BC}"/>
              </a:ext>
            </a:extLst>
          </p:cNvPr>
          <p:cNvSpPr>
            <a:spLocks noGrp="1"/>
          </p:cNvSpPr>
          <p:nvPr userDrawn="1">
            <p:ph type="body" sz="quarter" idx="22"/>
          </p:nvPr>
        </p:nvSpPr>
        <p:spPr>
          <a:xfrm>
            <a:off x="9797693"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6" name="Text Placeholder 7">
            <a:extLst>
              <a:ext uri="{FF2B5EF4-FFF2-40B4-BE49-F238E27FC236}">
                <a16:creationId xmlns:a16="http://schemas.microsoft.com/office/drawing/2014/main" id="{941A491F-D611-97A1-16C2-EACCA685A23A}"/>
              </a:ext>
            </a:extLst>
          </p:cNvPr>
          <p:cNvSpPr>
            <a:spLocks noGrp="1"/>
          </p:cNvSpPr>
          <p:nvPr userDrawn="1">
            <p:ph type="body" sz="quarter" idx="23"/>
          </p:nvPr>
        </p:nvSpPr>
        <p:spPr>
          <a:xfrm>
            <a:off x="9797693"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grpSp>
        <p:nvGrpSpPr>
          <p:cNvPr id="38" name="Group 37">
            <a:extLst>
              <a:ext uri="{FF2B5EF4-FFF2-40B4-BE49-F238E27FC236}">
                <a16:creationId xmlns:a16="http://schemas.microsoft.com/office/drawing/2014/main" id="{6E92408C-C386-D3D7-C0C6-02D217147929}"/>
              </a:ext>
            </a:extLst>
          </p:cNvPr>
          <p:cNvGrpSpPr/>
          <p:nvPr userDrawn="1"/>
        </p:nvGrpSpPr>
        <p:grpSpPr>
          <a:xfrm>
            <a:off x="458724" y="2707125"/>
            <a:ext cx="2093978" cy="2840476"/>
            <a:chOff x="9639298" y="2707125"/>
            <a:chExt cx="2093978" cy="2840476"/>
          </a:xfrm>
        </p:grpSpPr>
        <p:sp>
          <p:nvSpPr>
            <p:cNvPr id="39" name="Rectangle 38">
              <a:extLst>
                <a:ext uri="{FF2B5EF4-FFF2-40B4-BE49-F238E27FC236}">
                  <a16:creationId xmlns:a16="http://schemas.microsoft.com/office/drawing/2014/main" id="{CCA3DB6C-178B-D68B-C734-D9F557912250}"/>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C709E21D-F972-067F-240A-66CC3781CBDD}"/>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53CC2F9-5B59-5AD2-31F8-5E59DA708324}"/>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a:extLst>
              <a:ext uri="{FF2B5EF4-FFF2-40B4-BE49-F238E27FC236}">
                <a16:creationId xmlns:a16="http://schemas.microsoft.com/office/drawing/2014/main" id="{9178E63C-A2A5-728A-9E04-DF2F7510238A}"/>
              </a:ext>
            </a:extLst>
          </p:cNvPr>
          <p:cNvGrpSpPr/>
          <p:nvPr userDrawn="1"/>
        </p:nvGrpSpPr>
        <p:grpSpPr>
          <a:xfrm>
            <a:off x="7344153" y="2707125"/>
            <a:ext cx="2093978" cy="2840476"/>
            <a:chOff x="9639298" y="2707125"/>
            <a:chExt cx="2093978" cy="2840476"/>
          </a:xfrm>
        </p:grpSpPr>
        <p:sp>
          <p:nvSpPr>
            <p:cNvPr id="43" name="Rectangle 42">
              <a:extLst>
                <a:ext uri="{FF2B5EF4-FFF2-40B4-BE49-F238E27FC236}">
                  <a16:creationId xmlns:a16="http://schemas.microsoft.com/office/drawing/2014/main" id="{205618B5-AE85-695F-49F9-EADAF8030169}"/>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D09DBB92-28B4-9403-ED53-E872138A238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7B8D855F-50E1-6C69-4530-7DEEE17174BF}"/>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Group 45">
            <a:extLst>
              <a:ext uri="{FF2B5EF4-FFF2-40B4-BE49-F238E27FC236}">
                <a16:creationId xmlns:a16="http://schemas.microsoft.com/office/drawing/2014/main" id="{A0E8C2C3-C43D-6A9F-D68D-03FAA7B51B52}"/>
              </a:ext>
            </a:extLst>
          </p:cNvPr>
          <p:cNvGrpSpPr/>
          <p:nvPr userDrawn="1"/>
        </p:nvGrpSpPr>
        <p:grpSpPr>
          <a:xfrm>
            <a:off x="5049010" y="2707125"/>
            <a:ext cx="2093978" cy="2840476"/>
            <a:chOff x="9639298" y="2707125"/>
            <a:chExt cx="2093978" cy="2840476"/>
          </a:xfrm>
        </p:grpSpPr>
        <p:sp>
          <p:nvSpPr>
            <p:cNvPr id="47" name="Rectangle 46">
              <a:extLst>
                <a:ext uri="{FF2B5EF4-FFF2-40B4-BE49-F238E27FC236}">
                  <a16:creationId xmlns:a16="http://schemas.microsoft.com/office/drawing/2014/main" id="{0626428E-EE03-7D80-D795-F605EEEBE611}"/>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9883EDEA-DA49-FBE3-408C-9BD3DC4F99DE}"/>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6D651B70-40BB-55F1-72AB-9B546F3D7650}"/>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0" name="Group 49">
            <a:extLst>
              <a:ext uri="{FF2B5EF4-FFF2-40B4-BE49-F238E27FC236}">
                <a16:creationId xmlns:a16="http://schemas.microsoft.com/office/drawing/2014/main" id="{63138260-91B3-0D50-EDB5-BE4DAD41F8CB}"/>
              </a:ext>
            </a:extLst>
          </p:cNvPr>
          <p:cNvGrpSpPr/>
          <p:nvPr userDrawn="1"/>
        </p:nvGrpSpPr>
        <p:grpSpPr>
          <a:xfrm>
            <a:off x="2753867" y="2707125"/>
            <a:ext cx="2093978" cy="2840476"/>
            <a:chOff x="9639298" y="2707125"/>
            <a:chExt cx="2093978" cy="2840476"/>
          </a:xfrm>
        </p:grpSpPr>
        <p:sp>
          <p:nvSpPr>
            <p:cNvPr id="51" name="Rectangle 50">
              <a:extLst>
                <a:ext uri="{FF2B5EF4-FFF2-40B4-BE49-F238E27FC236}">
                  <a16:creationId xmlns:a16="http://schemas.microsoft.com/office/drawing/2014/main" id="{DA1F3357-6A96-9D93-36A9-F1828879A6DE}"/>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9E5C6387-F334-EF1F-4234-C9BFFAEEDAF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7114BFE0-9DA4-F591-760F-FB6B45A80B8B}"/>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Text Placeholder 7">
            <a:extLst>
              <a:ext uri="{FF2B5EF4-FFF2-40B4-BE49-F238E27FC236}">
                <a16:creationId xmlns:a16="http://schemas.microsoft.com/office/drawing/2014/main" id="{042ED969-DC44-7C31-DBA6-0A656CEF5DBA}"/>
              </a:ext>
            </a:extLst>
          </p:cNvPr>
          <p:cNvSpPr>
            <a:spLocks noGrp="1"/>
          </p:cNvSpPr>
          <p:nvPr>
            <p:ph type="body" sz="quarter" idx="24"/>
          </p:nvPr>
        </p:nvSpPr>
        <p:spPr>
          <a:xfrm>
            <a:off x="7502547"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5" name="Text Placeholder 7">
            <a:extLst>
              <a:ext uri="{FF2B5EF4-FFF2-40B4-BE49-F238E27FC236}">
                <a16:creationId xmlns:a16="http://schemas.microsoft.com/office/drawing/2014/main" id="{30D581CD-5D21-6A48-0246-BF07C8EB7F5C}"/>
              </a:ext>
            </a:extLst>
          </p:cNvPr>
          <p:cNvSpPr>
            <a:spLocks noGrp="1"/>
          </p:cNvSpPr>
          <p:nvPr>
            <p:ph type="body" sz="quarter" idx="25"/>
          </p:nvPr>
        </p:nvSpPr>
        <p:spPr>
          <a:xfrm>
            <a:off x="7502547"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6" name="Text Placeholder 7">
            <a:extLst>
              <a:ext uri="{FF2B5EF4-FFF2-40B4-BE49-F238E27FC236}">
                <a16:creationId xmlns:a16="http://schemas.microsoft.com/office/drawing/2014/main" id="{34BA5EFA-538E-9B80-C7ED-B686E6E2C673}"/>
              </a:ext>
            </a:extLst>
          </p:cNvPr>
          <p:cNvSpPr>
            <a:spLocks noGrp="1"/>
          </p:cNvSpPr>
          <p:nvPr>
            <p:ph type="body" sz="quarter" idx="26"/>
          </p:nvPr>
        </p:nvSpPr>
        <p:spPr>
          <a:xfrm>
            <a:off x="5207405"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7" name="Text Placeholder 7">
            <a:extLst>
              <a:ext uri="{FF2B5EF4-FFF2-40B4-BE49-F238E27FC236}">
                <a16:creationId xmlns:a16="http://schemas.microsoft.com/office/drawing/2014/main" id="{580BA9A7-9445-E2BF-1A02-47075E0A4C69}"/>
              </a:ext>
            </a:extLst>
          </p:cNvPr>
          <p:cNvSpPr>
            <a:spLocks noGrp="1"/>
          </p:cNvSpPr>
          <p:nvPr>
            <p:ph type="body" sz="quarter" idx="27"/>
          </p:nvPr>
        </p:nvSpPr>
        <p:spPr>
          <a:xfrm>
            <a:off x="5207405"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8" name="Text Placeholder 7">
            <a:extLst>
              <a:ext uri="{FF2B5EF4-FFF2-40B4-BE49-F238E27FC236}">
                <a16:creationId xmlns:a16="http://schemas.microsoft.com/office/drawing/2014/main" id="{AB2FA8B3-D259-F20F-2583-BF33B22E641F}"/>
              </a:ext>
            </a:extLst>
          </p:cNvPr>
          <p:cNvSpPr>
            <a:spLocks noGrp="1"/>
          </p:cNvSpPr>
          <p:nvPr>
            <p:ph type="body" sz="quarter" idx="28"/>
          </p:nvPr>
        </p:nvSpPr>
        <p:spPr>
          <a:xfrm>
            <a:off x="2912259"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9" name="Text Placeholder 7">
            <a:extLst>
              <a:ext uri="{FF2B5EF4-FFF2-40B4-BE49-F238E27FC236}">
                <a16:creationId xmlns:a16="http://schemas.microsoft.com/office/drawing/2014/main" id="{43846753-4575-FB01-C613-FF1C4ACBEDDC}"/>
              </a:ext>
            </a:extLst>
          </p:cNvPr>
          <p:cNvSpPr>
            <a:spLocks noGrp="1"/>
          </p:cNvSpPr>
          <p:nvPr>
            <p:ph type="body" sz="quarter" idx="29"/>
          </p:nvPr>
        </p:nvSpPr>
        <p:spPr>
          <a:xfrm>
            <a:off x="2912259"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64" name="Text Placeholder 7">
            <a:extLst>
              <a:ext uri="{FF2B5EF4-FFF2-40B4-BE49-F238E27FC236}">
                <a16:creationId xmlns:a16="http://schemas.microsoft.com/office/drawing/2014/main" id="{9510D576-D1BA-83BD-F97F-8AED822CB19E}"/>
              </a:ext>
            </a:extLst>
          </p:cNvPr>
          <p:cNvSpPr>
            <a:spLocks noGrp="1"/>
          </p:cNvSpPr>
          <p:nvPr>
            <p:ph type="body" sz="quarter" idx="30"/>
          </p:nvPr>
        </p:nvSpPr>
        <p:spPr>
          <a:xfrm>
            <a:off x="617116"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65" name="Text Placeholder 7">
            <a:extLst>
              <a:ext uri="{FF2B5EF4-FFF2-40B4-BE49-F238E27FC236}">
                <a16:creationId xmlns:a16="http://schemas.microsoft.com/office/drawing/2014/main" id="{9116D161-5973-D242-ECF2-DA56885325A3}"/>
              </a:ext>
            </a:extLst>
          </p:cNvPr>
          <p:cNvSpPr>
            <a:spLocks noGrp="1"/>
          </p:cNvSpPr>
          <p:nvPr>
            <p:ph type="body" sz="quarter" idx="31"/>
          </p:nvPr>
        </p:nvSpPr>
        <p:spPr>
          <a:xfrm>
            <a:off x="617116"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6113608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_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25388858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_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6610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7465223"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4981171"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2497119"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userDrawn="1">
            <p:ph type="body" sz="quarter" idx="16"/>
          </p:nvPr>
        </p:nvSpPr>
        <p:spPr>
          <a:xfrm>
            <a:off x="2701117"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userDrawn="1">
            <p:ph type="body" sz="quarter" idx="17"/>
          </p:nvPr>
        </p:nvSpPr>
        <p:spPr>
          <a:xfrm>
            <a:off x="2701117"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userDrawn="1">
            <p:ph type="body" sz="quarter" idx="18"/>
          </p:nvPr>
        </p:nvSpPr>
        <p:spPr>
          <a:xfrm>
            <a:off x="5185168"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userDrawn="1">
            <p:ph type="body" sz="quarter" idx="19"/>
          </p:nvPr>
        </p:nvSpPr>
        <p:spPr>
          <a:xfrm>
            <a:off x="5185168"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userDrawn="1">
            <p:ph type="body" sz="quarter" idx="20"/>
          </p:nvPr>
        </p:nvSpPr>
        <p:spPr>
          <a:xfrm>
            <a:off x="7669220"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userDrawn="1">
            <p:ph type="body" sz="quarter" idx="21"/>
          </p:nvPr>
        </p:nvSpPr>
        <p:spPr>
          <a:xfrm>
            <a:off x="7669220"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1175065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8707247"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6223195"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3739144"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71D643BF-12B5-D8DA-918D-35F5BA042149}"/>
              </a:ext>
            </a:extLst>
          </p:cNvPr>
          <p:cNvGrpSpPr/>
          <p:nvPr userDrawn="1"/>
        </p:nvGrpSpPr>
        <p:grpSpPr>
          <a:xfrm>
            <a:off x="1255093" y="2714057"/>
            <a:ext cx="2229660" cy="2840476"/>
            <a:chOff x="1447395" y="3210128"/>
            <a:chExt cx="2229660" cy="2840476"/>
          </a:xfrm>
        </p:grpSpPr>
        <p:sp>
          <p:nvSpPr>
            <p:cNvPr id="18" name="Rectangle 17">
              <a:extLst>
                <a:ext uri="{FF2B5EF4-FFF2-40B4-BE49-F238E27FC236}">
                  <a16:creationId xmlns:a16="http://schemas.microsoft.com/office/drawing/2014/main" id="{B21424DD-E2C0-41B0-4892-3FD3A6D31AE6}"/>
                </a:ext>
              </a:extLst>
            </p:cNvPr>
            <p:cNvSpPr/>
            <p:nvPr userDrawn="1"/>
          </p:nvSpPr>
          <p:spPr>
            <a:xfrm>
              <a:off x="1447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8D27915-D1F7-0C39-1419-848DE3329803}"/>
                </a:ext>
              </a:extLst>
            </p:cNvPr>
            <p:cNvSpPr>
              <a:spLocks noChangeAspect="1"/>
            </p:cNvSpPr>
            <p:nvPr userDrawn="1"/>
          </p:nvSpPr>
          <p:spPr>
            <a:xfrm>
              <a:off x="2105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C2081DE7-427F-F142-2C74-60784BAF5958}"/>
                </a:ext>
              </a:extLst>
            </p:cNvPr>
            <p:cNvSpPr/>
            <p:nvPr userDrawn="1"/>
          </p:nvSpPr>
          <p:spPr>
            <a:xfrm>
              <a:off x="1447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3" name="Text Placeholder 7">
            <a:extLst>
              <a:ext uri="{FF2B5EF4-FFF2-40B4-BE49-F238E27FC236}">
                <a16:creationId xmlns:a16="http://schemas.microsoft.com/office/drawing/2014/main" id="{1DA6BA86-7840-F2D1-ECFB-C92928014005}"/>
              </a:ext>
            </a:extLst>
          </p:cNvPr>
          <p:cNvSpPr>
            <a:spLocks noGrp="1"/>
          </p:cNvSpPr>
          <p:nvPr>
            <p:ph type="body" sz="quarter" idx="14"/>
          </p:nvPr>
        </p:nvSpPr>
        <p:spPr>
          <a:xfrm>
            <a:off x="1459091"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B0019762-7756-4C09-6E38-E931352BA382}"/>
              </a:ext>
            </a:extLst>
          </p:cNvPr>
          <p:cNvSpPr>
            <a:spLocks noGrp="1"/>
          </p:cNvSpPr>
          <p:nvPr>
            <p:ph type="body" sz="quarter" idx="15"/>
          </p:nvPr>
        </p:nvSpPr>
        <p:spPr>
          <a:xfrm>
            <a:off x="1459091"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p:ph type="body" sz="quarter" idx="16"/>
          </p:nvPr>
        </p:nvSpPr>
        <p:spPr>
          <a:xfrm>
            <a:off x="3943142"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p:ph type="body" sz="quarter" idx="17"/>
          </p:nvPr>
        </p:nvSpPr>
        <p:spPr>
          <a:xfrm>
            <a:off x="3943142"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p:ph type="body" sz="quarter" idx="18"/>
          </p:nvPr>
        </p:nvSpPr>
        <p:spPr>
          <a:xfrm>
            <a:off x="6427193"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p:ph type="body" sz="quarter" idx="19"/>
          </p:nvPr>
        </p:nvSpPr>
        <p:spPr>
          <a:xfrm>
            <a:off x="6427193"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p:ph type="body" sz="quarter" idx="20"/>
          </p:nvPr>
        </p:nvSpPr>
        <p:spPr>
          <a:xfrm>
            <a:off x="8911245"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p:ph type="body" sz="quarter" idx="21"/>
          </p:nvPr>
        </p:nvSpPr>
        <p:spPr>
          <a:xfrm>
            <a:off x="8911245"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6109257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ard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grpSp>
        <p:nvGrpSpPr>
          <p:cNvPr id="37" name="Group 36">
            <a:extLst>
              <a:ext uri="{FF2B5EF4-FFF2-40B4-BE49-F238E27FC236}">
                <a16:creationId xmlns:a16="http://schemas.microsoft.com/office/drawing/2014/main" id="{F7FC0A56-DEC2-F27A-D955-25A62F5F2C3D}"/>
              </a:ext>
            </a:extLst>
          </p:cNvPr>
          <p:cNvGrpSpPr/>
          <p:nvPr userDrawn="1"/>
        </p:nvGrpSpPr>
        <p:grpSpPr>
          <a:xfrm>
            <a:off x="9639298" y="2707125"/>
            <a:ext cx="2093978" cy="2840476"/>
            <a:chOff x="9639298" y="2707125"/>
            <a:chExt cx="2093978" cy="2840476"/>
          </a:xfrm>
        </p:grpSpPr>
        <p:sp>
          <p:nvSpPr>
            <p:cNvPr id="32" name="Rectangle 31">
              <a:extLst>
                <a:ext uri="{FF2B5EF4-FFF2-40B4-BE49-F238E27FC236}">
                  <a16:creationId xmlns:a16="http://schemas.microsoft.com/office/drawing/2014/main" id="{6204AD10-D1B0-4FAD-5A0D-FCE6ED050A04}"/>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0E033368-E47D-01FB-6315-3BC8B595D608}"/>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602EAEB-B21D-CAE5-9534-8272DD8CAAE3}"/>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7">
            <a:extLst>
              <a:ext uri="{FF2B5EF4-FFF2-40B4-BE49-F238E27FC236}">
                <a16:creationId xmlns:a16="http://schemas.microsoft.com/office/drawing/2014/main" id="{8E342E35-3B3E-E874-A2E9-0D42AC5C10BC}"/>
              </a:ext>
            </a:extLst>
          </p:cNvPr>
          <p:cNvSpPr>
            <a:spLocks noGrp="1"/>
          </p:cNvSpPr>
          <p:nvPr userDrawn="1">
            <p:ph type="body" sz="quarter" idx="22"/>
          </p:nvPr>
        </p:nvSpPr>
        <p:spPr>
          <a:xfrm>
            <a:off x="9797693"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6" name="Text Placeholder 7">
            <a:extLst>
              <a:ext uri="{FF2B5EF4-FFF2-40B4-BE49-F238E27FC236}">
                <a16:creationId xmlns:a16="http://schemas.microsoft.com/office/drawing/2014/main" id="{941A491F-D611-97A1-16C2-EACCA685A23A}"/>
              </a:ext>
            </a:extLst>
          </p:cNvPr>
          <p:cNvSpPr>
            <a:spLocks noGrp="1"/>
          </p:cNvSpPr>
          <p:nvPr userDrawn="1">
            <p:ph type="body" sz="quarter" idx="23"/>
          </p:nvPr>
        </p:nvSpPr>
        <p:spPr>
          <a:xfrm>
            <a:off x="9797693"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grpSp>
        <p:nvGrpSpPr>
          <p:cNvPr id="38" name="Group 37">
            <a:extLst>
              <a:ext uri="{FF2B5EF4-FFF2-40B4-BE49-F238E27FC236}">
                <a16:creationId xmlns:a16="http://schemas.microsoft.com/office/drawing/2014/main" id="{6E92408C-C386-D3D7-C0C6-02D217147929}"/>
              </a:ext>
            </a:extLst>
          </p:cNvPr>
          <p:cNvGrpSpPr/>
          <p:nvPr userDrawn="1"/>
        </p:nvGrpSpPr>
        <p:grpSpPr>
          <a:xfrm>
            <a:off x="458724" y="2707125"/>
            <a:ext cx="2093978" cy="2840476"/>
            <a:chOff x="9639298" y="2707125"/>
            <a:chExt cx="2093978" cy="2840476"/>
          </a:xfrm>
        </p:grpSpPr>
        <p:sp>
          <p:nvSpPr>
            <p:cNvPr id="39" name="Rectangle 38">
              <a:extLst>
                <a:ext uri="{FF2B5EF4-FFF2-40B4-BE49-F238E27FC236}">
                  <a16:creationId xmlns:a16="http://schemas.microsoft.com/office/drawing/2014/main" id="{CCA3DB6C-178B-D68B-C734-D9F557912250}"/>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C709E21D-F972-067F-240A-66CC3781CBDD}"/>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53CC2F9-5B59-5AD2-31F8-5E59DA708324}"/>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a:extLst>
              <a:ext uri="{FF2B5EF4-FFF2-40B4-BE49-F238E27FC236}">
                <a16:creationId xmlns:a16="http://schemas.microsoft.com/office/drawing/2014/main" id="{9178E63C-A2A5-728A-9E04-DF2F7510238A}"/>
              </a:ext>
            </a:extLst>
          </p:cNvPr>
          <p:cNvGrpSpPr/>
          <p:nvPr userDrawn="1"/>
        </p:nvGrpSpPr>
        <p:grpSpPr>
          <a:xfrm>
            <a:off x="7344153" y="2707125"/>
            <a:ext cx="2093978" cy="2840476"/>
            <a:chOff x="9639298" y="2707125"/>
            <a:chExt cx="2093978" cy="2840476"/>
          </a:xfrm>
        </p:grpSpPr>
        <p:sp>
          <p:nvSpPr>
            <p:cNvPr id="43" name="Rectangle 42">
              <a:extLst>
                <a:ext uri="{FF2B5EF4-FFF2-40B4-BE49-F238E27FC236}">
                  <a16:creationId xmlns:a16="http://schemas.microsoft.com/office/drawing/2014/main" id="{205618B5-AE85-695F-49F9-EADAF8030169}"/>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D09DBB92-28B4-9403-ED53-E872138A238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7B8D855F-50E1-6C69-4530-7DEEE17174BF}"/>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Group 45">
            <a:extLst>
              <a:ext uri="{FF2B5EF4-FFF2-40B4-BE49-F238E27FC236}">
                <a16:creationId xmlns:a16="http://schemas.microsoft.com/office/drawing/2014/main" id="{A0E8C2C3-C43D-6A9F-D68D-03FAA7B51B52}"/>
              </a:ext>
            </a:extLst>
          </p:cNvPr>
          <p:cNvGrpSpPr/>
          <p:nvPr userDrawn="1"/>
        </p:nvGrpSpPr>
        <p:grpSpPr>
          <a:xfrm>
            <a:off x="5049010" y="2707125"/>
            <a:ext cx="2093978" cy="2840476"/>
            <a:chOff x="9639298" y="2707125"/>
            <a:chExt cx="2093978" cy="2840476"/>
          </a:xfrm>
        </p:grpSpPr>
        <p:sp>
          <p:nvSpPr>
            <p:cNvPr id="47" name="Rectangle 46">
              <a:extLst>
                <a:ext uri="{FF2B5EF4-FFF2-40B4-BE49-F238E27FC236}">
                  <a16:creationId xmlns:a16="http://schemas.microsoft.com/office/drawing/2014/main" id="{0626428E-EE03-7D80-D795-F605EEEBE611}"/>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9883EDEA-DA49-FBE3-408C-9BD3DC4F99DE}"/>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6D651B70-40BB-55F1-72AB-9B546F3D7650}"/>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0" name="Group 49">
            <a:extLst>
              <a:ext uri="{FF2B5EF4-FFF2-40B4-BE49-F238E27FC236}">
                <a16:creationId xmlns:a16="http://schemas.microsoft.com/office/drawing/2014/main" id="{63138260-91B3-0D50-EDB5-BE4DAD41F8CB}"/>
              </a:ext>
            </a:extLst>
          </p:cNvPr>
          <p:cNvGrpSpPr/>
          <p:nvPr userDrawn="1"/>
        </p:nvGrpSpPr>
        <p:grpSpPr>
          <a:xfrm>
            <a:off x="2753867" y="2707125"/>
            <a:ext cx="2093978" cy="2840476"/>
            <a:chOff x="9639298" y="2707125"/>
            <a:chExt cx="2093978" cy="2840476"/>
          </a:xfrm>
        </p:grpSpPr>
        <p:sp>
          <p:nvSpPr>
            <p:cNvPr id="51" name="Rectangle 50">
              <a:extLst>
                <a:ext uri="{FF2B5EF4-FFF2-40B4-BE49-F238E27FC236}">
                  <a16:creationId xmlns:a16="http://schemas.microsoft.com/office/drawing/2014/main" id="{DA1F3357-6A96-9D93-36A9-F1828879A6DE}"/>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9E5C6387-F334-EF1F-4234-C9BFFAEEDAF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7114BFE0-9DA4-F591-760F-FB6B45A80B8B}"/>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Text Placeholder 7">
            <a:extLst>
              <a:ext uri="{FF2B5EF4-FFF2-40B4-BE49-F238E27FC236}">
                <a16:creationId xmlns:a16="http://schemas.microsoft.com/office/drawing/2014/main" id="{042ED969-DC44-7C31-DBA6-0A656CEF5DBA}"/>
              </a:ext>
            </a:extLst>
          </p:cNvPr>
          <p:cNvSpPr>
            <a:spLocks noGrp="1"/>
          </p:cNvSpPr>
          <p:nvPr>
            <p:ph type="body" sz="quarter" idx="24"/>
          </p:nvPr>
        </p:nvSpPr>
        <p:spPr>
          <a:xfrm>
            <a:off x="7502547"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5" name="Text Placeholder 7">
            <a:extLst>
              <a:ext uri="{FF2B5EF4-FFF2-40B4-BE49-F238E27FC236}">
                <a16:creationId xmlns:a16="http://schemas.microsoft.com/office/drawing/2014/main" id="{30D581CD-5D21-6A48-0246-BF07C8EB7F5C}"/>
              </a:ext>
            </a:extLst>
          </p:cNvPr>
          <p:cNvSpPr>
            <a:spLocks noGrp="1"/>
          </p:cNvSpPr>
          <p:nvPr>
            <p:ph type="body" sz="quarter" idx="25"/>
          </p:nvPr>
        </p:nvSpPr>
        <p:spPr>
          <a:xfrm>
            <a:off x="7502547"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6" name="Text Placeholder 7">
            <a:extLst>
              <a:ext uri="{FF2B5EF4-FFF2-40B4-BE49-F238E27FC236}">
                <a16:creationId xmlns:a16="http://schemas.microsoft.com/office/drawing/2014/main" id="{34BA5EFA-538E-9B80-C7ED-B686E6E2C673}"/>
              </a:ext>
            </a:extLst>
          </p:cNvPr>
          <p:cNvSpPr>
            <a:spLocks noGrp="1"/>
          </p:cNvSpPr>
          <p:nvPr>
            <p:ph type="body" sz="quarter" idx="26"/>
          </p:nvPr>
        </p:nvSpPr>
        <p:spPr>
          <a:xfrm>
            <a:off x="5207405"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7" name="Text Placeholder 7">
            <a:extLst>
              <a:ext uri="{FF2B5EF4-FFF2-40B4-BE49-F238E27FC236}">
                <a16:creationId xmlns:a16="http://schemas.microsoft.com/office/drawing/2014/main" id="{580BA9A7-9445-E2BF-1A02-47075E0A4C69}"/>
              </a:ext>
            </a:extLst>
          </p:cNvPr>
          <p:cNvSpPr>
            <a:spLocks noGrp="1"/>
          </p:cNvSpPr>
          <p:nvPr>
            <p:ph type="body" sz="quarter" idx="27"/>
          </p:nvPr>
        </p:nvSpPr>
        <p:spPr>
          <a:xfrm>
            <a:off x="5207405"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8" name="Text Placeholder 7">
            <a:extLst>
              <a:ext uri="{FF2B5EF4-FFF2-40B4-BE49-F238E27FC236}">
                <a16:creationId xmlns:a16="http://schemas.microsoft.com/office/drawing/2014/main" id="{AB2FA8B3-D259-F20F-2583-BF33B22E641F}"/>
              </a:ext>
            </a:extLst>
          </p:cNvPr>
          <p:cNvSpPr>
            <a:spLocks noGrp="1"/>
          </p:cNvSpPr>
          <p:nvPr>
            <p:ph type="body" sz="quarter" idx="28"/>
          </p:nvPr>
        </p:nvSpPr>
        <p:spPr>
          <a:xfrm>
            <a:off x="2912259"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9" name="Text Placeholder 7">
            <a:extLst>
              <a:ext uri="{FF2B5EF4-FFF2-40B4-BE49-F238E27FC236}">
                <a16:creationId xmlns:a16="http://schemas.microsoft.com/office/drawing/2014/main" id="{43846753-4575-FB01-C613-FF1C4ACBEDDC}"/>
              </a:ext>
            </a:extLst>
          </p:cNvPr>
          <p:cNvSpPr>
            <a:spLocks noGrp="1"/>
          </p:cNvSpPr>
          <p:nvPr>
            <p:ph type="body" sz="quarter" idx="29"/>
          </p:nvPr>
        </p:nvSpPr>
        <p:spPr>
          <a:xfrm>
            <a:off x="2912259"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64" name="Text Placeholder 7">
            <a:extLst>
              <a:ext uri="{FF2B5EF4-FFF2-40B4-BE49-F238E27FC236}">
                <a16:creationId xmlns:a16="http://schemas.microsoft.com/office/drawing/2014/main" id="{9510D576-D1BA-83BD-F97F-8AED822CB19E}"/>
              </a:ext>
            </a:extLst>
          </p:cNvPr>
          <p:cNvSpPr>
            <a:spLocks noGrp="1"/>
          </p:cNvSpPr>
          <p:nvPr>
            <p:ph type="body" sz="quarter" idx="30"/>
          </p:nvPr>
        </p:nvSpPr>
        <p:spPr>
          <a:xfrm>
            <a:off x="617116"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65" name="Text Placeholder 7">
            <a:extLst>
              <a:ext uri="{FF2B5EF4-FFF2-40B4-BE49-F238E27FC236}">
                <a16:creationId xmlns:a16="http://schemas.microsoft.com/office/drawing/2014/main" id="{9116D161-5973-D242-ECF2-DA56885325A3}"/>
              </a:ext>
            </a:extLst>
          </p:cNvPr>
          <p:cNvSpPr>
            <a:spLocks noGrp="1"/>
          </p:cNvSpPr>
          <p:nvPr>
            <p:ph type="body" sz="quarter" idx="31"/>
          </p:nvPr>
        </p:nvSpPr>
        <p:spPr>
          <a:xfrm>
            <a:off x="617116"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6587088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_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19443054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4098474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column">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FB8A5A5E-4B0C-5F8E-CB8B-616C494438BA}"/>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1">
                <a:solidFill>
                  <a:schemeClr val="tx2"/>
                </a:solidFill>
                <a:latin typeface="Century Gothic" panose="020B0502020202020204" pitchFamily="34" charset="0"/>
              </a:defRPr>
            </a:lvl1pPr>
          </a:lstStyle>
          <a:p>
            <a:fld id="{6CC2FB7E-E9FD-AA44-8101-F627C1923673}" type="slidenum">
              <a:rPr lang="en-US" smtClean="0"/>
              <a:pPr/>
              <a:t>‹#›</a:t>
            </a:fld>
            <a:endParaRPr lang="en-US" dirty="0"/>
          </a:p>
        </p:txBody>
      </p:sp>
      <p:sp>
        <p:nvSpPr>
          <p:cNvPr id="6" name="Title Placeholder 1">
            <a:extLst>
              <a:ext uri="{FF2B5EF4-FFF2-40B4-BE49-F238E27FC236}">
                <a16:creationId xmlns:a16="http://schemas.microsoft.com/office/drawing/2014/main" id="{30EA6425-4672-3587-F53A-2F27457849D5}"/>
              </a:ext>
            </a:extLst>
          </p:cNvPr>
          <p:cNvSpPr>
            <a:spLocks noGrp="1"/>
          </p:cNvSpPr>
          <p:nvPr>
            <p:ph type="title" hasCustomPrompt="1"/>
          </p:nvPr>
        </p:nvSpPr>
        <p:spPr>
          <a:xfrm>
            <a:off x="594360" y="457200"/>
            <a:ext cx="11000232" cy="535531"/>
          </a:xfrm>
          <a:prstGeom prst="rect">
            <a:avLst/>
          </a:prstGeom>
        </p:spPr>
        <p:txBody>
          <a:bodyPr vert="horz" wrap="square" lIns="91440" tIns="45720" rIns="91440" bIns="45720" rtlCol="0" anchor="ctr">
            <a:spAutoFit/>
          </a:bodyPr>
          <a:lstStyle>
            <a:lvl1pPr>
              <a:defRPr sz="3200" b="1">
                <a:solidFill>
                  <a:schemeClr val="tx2"/>
                </a:solidFill>
              </a:defRPr>
            </a:lvl1pPr>
          </a:lstStyle>
          <a:p>
            <a:r>
              <a:rPr lang="en-US"/>
              <a:t>Slide title</a:t>
            </a:r>
          </a:p>
        </p:txBody>
      </p:sp>
      <p:sp>
        <p:nvSpPr>
          <p:cNvPr id="9" name="Text Placeholder 5">
            <a:extLst>
              <a:ext uri="{FF2B5EF4-FFF2-40B4-BE49-F238E27FC236}">
                <a16:creationId xmlns:a16="http://schemas.microsoft.com/office/drawing/2014/main" id="{FED745EC-529F-8CA0-AD6F-799C43CDF023}"/>
              </a:ext>
            </a:extLst>
          </p:cNvPr>
          <p:cNvSpPr>
            <a:spLocks noGrp="1"/>
          </p:cNvSpPr>
          <p:nvPr>
            <p:ph type="body" sz="quarter" idx="10"/>
          </p:nvPr>
        </p:nvSpPr>
        <p:spPr>
          <a:xfrm>
            <a:off x="594360" y="1508760"/>
            <a:ext cx="11000232" cy="4053840"/>
          </a:xfrm>
          <a:prstGeom prst="rect">
            <a:avLst/>
          </a:prstGeo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808969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A35707-60CB-DF42-EDBD-DA952129F37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337" y="0"/>
            <a:ext cx="12204674" cy="6858000"/>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33036735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FEBFFBE-5C37-F18D-7414-2D32897792D3}"/>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1">
                <a:solidFill>
                  <a:schemeClr val="tx2"/>
                </a:solidFill>
                <a:latin typeface="Century Gothic" panose="020B0502020202020204" pitchFamily="34" charset="0"/>
              </a:defRPr>
            </a:lvl1pPr>
          </a:lstStyle>
          <a:p>
            <a:fld id="{6CC2FB7E-E9FD-AA44-8101-F627C1923673}" type="slidenum">
              <a:rPr lang="en-US" smtClean="0"/>
              <a:pPr/>
              <a:t>‹#›</a:t>
            </a:fld>
            <a:endParaRPr lang="en-US" dirty="0"/>
          </a:p>
        </p:txBody>
      </p:sp>
      <p:sp>
        <p:nvSpPr>
          <p:cNvPr id="11" name="Content Placeholder 2">
            <a:extLst>
              <a:ext uri="{FF2B5EF4-FFF2-40B4-BE49-F238E27FC236}">
                <a16:creationId xmlns:a16="http://schemas.microsoft.com/office/drawing/2014/main" id="{EADAC01F-6CB4-3986-E2E7-99E51C35916F}"/>
              </a:ext>
            </a:extLst>
          </p:cNvPr>
          <p:cNvSpPr>
            <a:spLocks noGrp="1"/>
          </p:cNvSpPr>
          <p:nvPr>
            <p:ph sz="half" idx="1" hasCustomPrompt="1"/>
          </p:nvPr>
        </p:nvSpPr>
        <p:spPr>
          <a:xfrm>
            <a:off x="594360" y="1508760"/>
            <a:ext cx="5181600" cy="4041140"/>
          </a:xfrm>
          <a:prstGeom prst="rect">
            <a:avLst/>
          </a:prstGeom>
        </p:spPr>
        <p:txBody>
          <a:bodyPr/>
          <a:lstStyle>
            <a:lvl1pPr marL="0" indent="0">
              <a:lnSpc>
                <a:spcPts val="3000"/>
              </a:lnSpc>
              <a:spcBef>
                <a:spcPts val="0"/>
              </a:spcBef>
              <a:spcAft>
                <a:spcPts val="1200"/>
              </a:spcAft>
              <a:buNone/>
              <a:defRPr sz="2000"/>
            </a:lvl1pPr>
          </a:lstStyle>
          <a:p>
            <a:pPr lvl="0"/>
            <a:r>
              <a:rPr lang="en-US"/>
              <a:t>Click to edit text</a:t>
            </a:r>
          </a:p>
        </p:txBody>
      </p:sp>
      <p:sp>
        <p:nvSpPr>
          <p:cNvPr id="12" name="Content Placeholder 3">
            <a:extLst>
              <a:ext uri="{FF2B5EF4-FFF2-40B4-BE49-F238E27FC236}">
                <a16:creationId xmlns:a16="http://schemas.microsoft.com/office/drawing/2014/main" id="{02764AF7-D8CC-EFBA-A2DA-CB912F53532E}"/>
              </a:ext>
            </a:extLst>
          </p:cNvPr>
          <p:cNvSpPr>
            <a:spLocks noGrp="1"/>
          </p:cNvSpPr>
          <p:nvPr>
            <p:ph sz="half" idx="2" hasCustomPrompt="1"/>
          </p:nvPr>
        </p:nvSpPr>
        <p:spPr>
          <a:xfrm>
            <a:off x="6412992" y="1508760"/>
            <a:ext cx="5181600" cy="4041140"/>
          </a:xfrm>
          <a:prstGeom prst="rect">
            <a:avLst/>
          </a:prstGeom>
        </p:spPr>
        <p:txBody>
          <a:bodyPr/>
          <a:lstStyle>
            <a:lvl1pPr marL="0" indent="0">
              <a:lnSpc>
                <a:spcPts val="2600"/>
              </a:lnSpc>
              <a:spcBef>
                <a:spcPts val="0"/>
              </a:spcBef>
              <a:spcAft>
                <a:spcPts val="600"/>
              </a:spcAft>
              <a:buNone/>
              <a:defRPr sz="2000"/>
            </a:lvl1pPr>
          </a:lstStyle>
          <a:p>
            <a:pPr lvl="0"/>
            <a:r>
              <a:rPr lang="en-US"/>
              <a:t>Click to edit text</a:t>
            </a:r>
          </a:p>
        </p:txBody>
      </p:sp>
      <p:sp>
        <p:nvSpPr>
          <p:cNvPr id="13" name="Title Placeholder 1">
            <a:extLst>
              <a:ext uri="{FF2B5EF4-FFF2-40B4-BE49-F238E27FC236}">
                <a16:creationId xmlns:a16="http://schemas.microsoft.com/office/drawing/2014/main" id="{FF337A06-BB61-9896-6237-F429C04C956F}"/>
              </a:ext>
            </a:extLst>
          </p:cNvPr>
          <p:cNvSpPr>
            <a:spLocks noGrp="1"/>
          </p:cNvSpPr>
          <p:nvPr>
            <p:ph type="title" hasCustomPrompt="1"/>
          </p:nvPr>
        </p:nvSpPr>
        <p:spPr>
          <a:xfrm>
            <a:off x="594360" y="457200"/>
            <a:ext cx="11000232" cy="535531"/>
          </a:xfrm>
          <a:prstGeom prst="rect">
            <a:avLst/>
          </a:prstGeom>
        </p:spPr>
        <p:txBody>
          <a:bodyPr vert="horz" wrap="square" lIns="91440" tIns="45720" rIns="91440" bIns="45720" rtlCol="0" anchor="ctr">
            <a:spAutoFit/>
          </a:bodyPr>
          <a:lstStyle>
            <a:lvl1pPr>
              <a:defRPr sz="3200" b="1">
                <a:solidFill>
                  <a:schemeClr val="tx2"/>
                </a:solidFill>
              </a:defRPr>
            </a:lvl1pPr>
          </a:lstStyle>
          <a:p>
            <a:r>
              <a:rPr lang="en-US"/>
              <a:t>Slide title</a:t>
            </a:r>
          </a:p>
        </p:txBody>
      </p:sp>
    </p:spTree>
    <p:extLst>
      <p:ext uri="{BB962C8B-B14F-4D97-AF65-F5344CB8AC3E}">
        <p14:creationId xmlns:p14="http://schemas.microsoft.com/office/powerpoint/2010/main" val="22769745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8CED03E0-0D5E-53DE-D527-98E52F3694D3}"/>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1">
                <a:solidFill>
                  <a:schemeClr val="tx2"/>
                </a:solidFill>
                <a:latin typeface="Century Gothic" panose="020B0502020202020204" pitchFamily="34" charset="0"/>
              </a:defRPr>
            </a:lvl1pPr>
          </a:lstStyle>
          <a:p>
            <a:fld id="{6CC2FB7E-E9FD-AA44-8101-F627C1923673}" type="slidenum">
              <a:rPr lang="en-US" smtClean="0"/>
              <a:pPr/>
              <a:t>‹#›</a:t>
            </a:fld>
            <a:endParaRPr lang="en-US" dirty="0"/>
          </a:p>
        </p:txBody>
      </p:sp>
      <p:sp>
        <p:nvSpPr>
          <p:cNvPr id="6" name="Content Placeholder 2">
            <a:extLst>
              <a:ext uri="{FF2B5EF4-FFF2-40B4-BE49-F238E27FC236}">
                <a16:creationId xmlns:a16="http://schemas.microsoft.com/office/drawing/2014/main" id="{0E7EF483-C4F3-2B56-5163-DBBC3FD5BF02}"/>
              </a:ext>
            </a:extLst>
          </p:cNvPr>
          <p:cNvSpPr>
            <a:spLocks noGrp="1"/>
          </p:cNvSpPr>
          <p:nvPr>
            <p:ph idx="1" hasCustomPrompt="1"/>
          </p:nvPr>
        </p:nvSpPr>
        <p:spPr>
          <a:xfrm>
            <a:off x="594360" y="1508760"/>
            <a:ext cx="11000232" cy="4020539"/>
          </a:xfrm>
          <a:prstGeom prst="rect">
            <a:avLst/>
          </a:prstGeom>
        </p:spPr>
        <p:txBody>
          <a:bodyPr/>
          <a:lstStyle>
            <a:lvl1pPr>
              <a:lnSpc>
                <a:spcPts val="3000"/>
              </a:lnSpc>
              <a:spcBef>
                <a:spcPts val="0"/>
              </a:spcBef>
              <a:spcAft>
                <a:spcPts val="1200"/>
              </a:spcAft>
              <a:defRPr sz="2000"/>
            </a:lvl1pPr>
            <a:lvl2pPr>
              <a:lnSpc>
                <a:spcPts val="3000"/>
              </a:lnSpc>
              <a:spcBef>
                <a:spcPts val="0"/>
              </a:spcBef>
              <a:spcAft>
                <a:spcPts val="1200"/>
              </a:spcAft>
              <a:defRPr sz="2000"/>
            </a:lvl2pPr>
          </a:lstStyle>
          <a:p>
            <a:pPr lvl="0"/>
            <a:r>
              <a:rPr lang="en-US"/>
              <a:t>Edit Master text styles</a:t>
            </a:r>
          </a:p>
          <a:p>
            <a:pPr lvl="1"/>
            <a:r>
              <a:rPr lang="en-US"/>
              <a:t>Second level</a:t>
            </a:r>
          </a:p>
        </p:txBody>
      </p:sp>
      <p:sp>
        <p:nvSpPr>
          <p:cNvPr id="9" name="Title Placeholder 1">
            <a:extLst>
              <a:ext uri="{FF2B5EF4-FFF2-40B4-BE49-F238E27FC236}">
                <a16:creationId xmlns:a16="http://schemas.microsoft.com/office/drawing/2014/main" id="{BFCCA373-A60D-F041-EE30-E5047B65F246}"/>
              </a:ext>
            </a:extLst>
          </p:cNvPr>
          <p:cNvSpPr>
            <a:spLocks noGrp="1"/>
          </p:cNvSpPr>
          <p:nvPr>
            <p:ph type="title" hasCustomPrompt="1"/>
          </p:nvPr>
        </p:nvSpPr>
        <p:spPr>
          <a:xfrm>
            <a:off x="594360" y="457200"/>
            <a:ext cx="11000232" cy="535531"/>
          </a:xfrm>
          <a:prstGeom prst="rect">
            <a:avLst/>
          </a:prstGeom>
        </p:spPr>
        <p:txBody>
          <a:bodyPr vert="horz" wrap="square" lIns="91440" tIns="45720" rIns="91440" bIns="45720" rtlCol="0" anchor="ctr">
            <a:spAutoFit/>
          </a:bodyPr>
          <a:lstStyle>
            <a:lvl1pPr>
              <a:defRPr sz="3200" b="1">
                <a:solidFill>
                  <a:schemeClr val="tx2"/>
                </a:solidFill>
              </a:defRPr>
            </a:lvl1pPr>
          </a:lstStyle>
          <a:p>
            <a:r>
              <a:rPr lang="en-US"/>
              <a:t>Slide title</a:t>
            </a:r>
          </a:p>
        </p:txBody>
      </p:sp>
    </p:spTree>
    <p:extLst>
      <p:ext uri="{BB962C8B-B14F-4D97-AF65-F5344CB8AC3E}">
        <p14:creationId xmlns:p14="http://schemas.microsoft.com/office/powerpoint/2010/main" val="31482885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_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30887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7465223"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4981171"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2497119"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userDrawn="1">
            <p:ph type="body" sz="quarter" idx="16"/>
          </p:nvPr>
        </p:nvSpPr>
        <p:spPr>
          <a:xfrm>
            <a:off x="2701117"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userDrawn="1">
            <p:ph type="body" sz="quarter" idx="17"/>
          </p:nvPr>
        </p:nvSpPr>
        <p:spPr>
          <a:xfrm>
            <a:off x="2701117"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userDrawn="1">
            <p:ph type="body" sz="quarter" idx="18"/>
          </p:nvPr>
        </p:nvSpPr>
        <p:spPr>
          <a:xfrm>
            <a:off x="5185168"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userDrawn="1">
            <p:ph type="body" sz="quarter" idx="19"/>
          </p:nvPr>
        </p:nvSpPr>
        <p:spPr>
          <a:xfrm>
            <a:off x="5185168"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userDrawn="1">
            <p:ph type="body" sz="quarter" idx="20"/>
          </p:nvPr>
        </p:nvSpPr>
        <p:spPr>
          <a:xfrm>
            <a:off x="7669220"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userDrawn="1">
            <p:ph type="body" sz="quarter" idx="21"/>
          </p:nvPr>
        </p:nvSpPr>
        <p:spPr>
          <a:xfrm>
            <a:off x="7669220"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0408902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FE356BE-ABEF-F429-C8F1-F3221BCFC635}"/>
              </a:ext>
            </a:extLst>
          </p:cNvPr>
          <p:cNvGrpSpPr/>
          <p:nvPr userDrawn="1"/>
        </p:nvGrpSpPr>
        <p:grpSpPr>
          <a:xfrm>
            <a:off x="8707247" y="2714057"/>
            <a:ext cx="2229660" cy="2840476"/>
            <a:chOff x="8305395" y="3210128"/>
            <a:chExt cx="2229660" cy="2840476"/>
          </a:xfrm>
        </p:grpSpPr>
        <p:sp>
          <p:nvSpPr>
            <p:cNvPr id="4" name="Rectangle 3">
              <a:extLst>
                <a:ext uri="{FF2B5EF4-FFF2-40B4-BE49-F238E27FC236}">
                  <a16:creationId xmlns:a16="http://schemas.microsoft.com/office/drawing/2014/main" id="{13818F3A-A095-DAE7-63C3-203D6CA9A312}"/>
                </a:ext>
              </a:extLst>
            </p:cNvPr>
            <p:cNvSpPr/>
            <p:nvPr userDrawn="1"/>
          </p:nvSpPr>
          <p:spPr>
            <a:xfrm>
              <a:off x="8305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13C16404-70AF-6292-7B46-BBDF29300D17}"/>
                </a:ext>
              </a:extLst>
            </p:cNvPr>
            <p:cNvSpPr>
              <a:spLocks noChangeAspect="1"/>
            </p:cNvSpPr>
            <p:nvPr userDrawn="1"/>
          </p:nvSpPr>
          <p:spPr>
            <a:xfrm>
              <a:off x="8963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256470-3BC6-1A69-96F3-6249407C5FA3}"/>
                </a:ext>
              </a:extLst>
            </p:cNvPr>
            <p:cNvSpPr/>
            <p:nvPr userDrawn="1"/>
          </p:nvSpPr>
          <p:spPr>
            <a:xfrm>
              <a:off x="8305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a:extLst>
              <a:ext uri="{FF2B5EF4-FFF2-40B4-BE49-F238E27FC236}">
                <a16:creationId xmlns:a16="http://schemas.microsoft.com/office/drawing/2014/main" id="{C6D44F30-1D00-B171-3B74-36C65B7662A7}"/>
              </a:ext>
            </a:extLst>
          </p:cNvPr>
          <p:cNvGrpSpPr/>
          <p:nvPr userDrawn="1"/>
        </p:nvGrpSpPr>
        <p:grpSpPr>
          <a:xfrm>
            <a:off x="6223195" y="2714057"/>
            <a:ext cx="2229660" cy="2840476"/>
            <a:chOff x="6019395" y="3210128"/>
            <a:chExt cx="2229660" cy="2840476"/>
          </a:xfrm>
        </p:grpSpPr>
        <p:sp>
          <p:nvSpPr>
            <p:cNvPr id="10" name="Rectangle 9">
              <a:extLst>
                <a:ext uri="{FF2B5EF4-FFF2-40B4-BE49-F238E27FC236}">
                  <a16:creationId xmlns:a16="http://schemas.microsoft.com/office/drawing/2014/main" id="{34C52EED-A826-026C-A4B3-7CBE38278A03}"/>
                </a:ext>
              </a:extLst>
            </p:cNvPr>
            <p:cNvSpPr/>
            <p:nvPr userDrawn="1"/>
          </p:nvSpPr>
          <p:spPr>
            <a:xfrm>
              <a:off x="6019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1CC61E1E-58CB-3C17-343A-C0762C3C3188}"/>
                </a:ext>
              </a:extLst>
            </p:cNvPr>
            <p:cNvSpPr>
              <a:spLocks noChangeAspect="1"/>
            </p:cNvSpPr>
            <p:nvPr userDrawn="1"/>
          </p:nvSpPr>
          <p:spPr>
            <a:xfrm>
              <a:off x="6677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09C3A77-8C8B-1D91-BF9C-47C068420EFD}"/>
                </a:ext>
              </a:extLst>
            </p:cNvPr>
            <p:cNvSpPr/>
            <p:nvPr userDrawn="1"/>
          </p:nvSpPr>
          <p:spPr>
            <a:xfrm>
              <a:off x="6019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2FE81DB7-5840-9EBB-40CB-A6E29B9F1A9F}"/>
              </a:ext>
            </a:extLst>
          </p:cNvPr>
          <p:cNvGrpSpPr/>
          <p:nvPr userDrawn="1"/>
        </p:nvGrpSpPr>
        <p:grpSpPr>
          <a:xfrm>
            <a:off x="3739144" y="2714057"/>
            <a:ext cx="2229660" cy="2840476"/>
            <a:chOff x="3733395" y="3210128"/>
            <a:chExt cx="2229660" cy="2840476"/>
          </a:xfrm>
        </p:grpSpPr>
        <p:sp>
          <p:nvSpPr>
            <p:cNvPr id="14" name="Rectangle 13">
              <a:extLst>
                <a:ext uri="{FF2B5EF4-FFF2-40B4-BE49-F238E27FC236}">
                  <a16:creationId xmlns:a16="http://schemas.microsoft.com/office/drawing/2014/main" id="{D741FDD9-CF08-7F76-5A8C-41BEACE8F247}"/>
                </a:ext>
              </a:extLst>
            </p:cNvPr>
            <p:cNvSpPr/>
            <p:nvPr userDrawn="1"/>
          </p:nvSpPr>
          <p:spPr>
            <a:xfrm>
              <a:off x="3733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763D4D61-4FA2-CA76-07DF-EBFD9721037A}"/>
                </a:ext>
              </a:extLst>
            </p:cNvPr>
            <p:cNvSpPr>
              <a:spLocks noChangeAspect="1"/>
            </p:cNvSpPr>
            <p:nvPr userDrawn="1"/>
          </p:nvSpPr>
          <p:spPr>
            <a:xfrm>
              <a:off x="4391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95916282-8A6C-FFCF-5366-01075AC604BE}"/>
                </a:ext>
              </a:extLst>
            </p:cNvPr>
            <p:cNvSpPr/>
            <p:nvPr userDrawn="1"/>
          </p:nvSpPr>
          <p:spPr>
            <a:xfrm>
              <a:off x="3733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71D643BF-12B5-D8DA-918D-35F5BA042149}"/>
              </a:ext>
            </a:extLst>
          </p:cNvPr>
          <p:cNvGrpSpPr/>
          <p:nvPr userDrawn="1"/>
        </p:nvGrpSpPr>
        <p:grpSpPr>
          <a:xfrm>
            <a:off x="1255093" y="2714057"/>
            <a:ext cx="2229660" cy="2840476"/>
            <a:chOff x="1447395" y="3210128"/>
            <a:chExt cx="2229660" cy="2840476"/>
          </a:xfrm>
        </p:grpSpPr>
        <p:sp>
          <p:nvSpPr>
            <p:cNvPr id="18" name="Rectangle 17">
              <a:extLst>
                <a:ext uri="{FF2B5EF4-FFF2-40B4-BE49-F238E27FC236}">
                  <a16:creationId xmlns:a16="http://schemas.microsoft.com/office/drawing/2014/main" id="{B21424DD-E2C0-41B0-4892-3FD3A6D31AE6}"/>
                </a:ext>
              </a:extLst>
            </p:cNvPr>
            <p:cNvSpPr/>
            <p:nvPr userDrawn="1"/>
          </p:nvSpPr>
          <p:spPr>
            <a:xfrm>
              <a:off x="1447395" y="3673476"/>
              <a:ext cx="2229660"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E8D27915-D1F7-0C39-1419-848DE3329803}"/>
                </a:ext>
              </a:extLst>
            </p:cNvPr>
            <p:cNvSpPr>
              <a:spLocks noChangeAspect="1"/>
            </p:cNvSpPr>
            <p:nvPr userDrawn="1"/>
          </p:nvSpPr>
          <p:spPr>
            <a:xfrm>
              <a:off x="2105025" y="3210128"/>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C2081DE7-427F-F142-2C74-60784BAF5958}"/>
                </a:ext>
              </a:extLst>
            </p:cNvPr>
            <p:cNvSpPr/>
            <p:nvPr userDrawn="1"/>
          </p:nvSpPr>
          <p:spPr>
            <a:xfrm>
              <a:off x="1447395" y="5907971"/>
              <a:ext cx="2229660"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Text Placeholder 7">
            <a:extLst>
              <a:ext uri="{FF2B5EF4-FFF2-40B4-BE49-F238E27FC236}">
                <a16:creationId xmlns:a16="http://schemas.microsoft.com/office/drawing/2014/main" id="{661CEA4A-EE0E-ABAB-59E9-8E3562B59004}"/>
              </a:ext>
            </a:extLst>
          </p:cNvPr>
          <p:cNvSpPr>
            <a:spLocks noGrp="1"/>
          </p:cNvSpPr>
          <p:nvPr>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sp>
        <p:nvSpPr>
          <p:cNvPr id="23" name="Text Placeholder 7">
            <a:extLst>
              <a:ext uri="{FF2B5EF4-FFF2-40B4-BE49-F238E27FC236}">
                <a16:creationId xmlns:a16="http://schemas.microsoft.com/office/drawing/2014/main" id="{1DA6BA86-7840-F2D1-ECFB-C92928014005}"/>
              </a:ext>
            </a:extLst>
          </p:cNvPr>
          <p:cNvSpPr>
            <a:spLocks noGrp="1"/>
          </p:cNvSpPr>
          <p:nvPr>
            <p:ph type="body" sz="quarter" idx="14"/>
          </p:nvPr>
        </p:nvSpPr>
        <p:spPr>
          <a:xfrm>
            <a:off x="1459091"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B0019762-7756-4C09-6E38-E931352BA382}"/>
              </a:ext>
            </a:extLst>
          </p:cNvPr>
          <p:cNvSpPr>
            <a:spLocks noGrp="1"/>
          </p:cNvSpPr>
          <p:nvPr>
            <p:ph type="body" sz="quarter" idx="15"/>
          </p:nvPr>
        </p:nvSpPr>
        <p:spPr>
          <a:xfrm>
            <a:off x="1459091"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5" name="Text Placeholder 7">
            <a:extLst>
              <a:ext uri="{FF2B5EF4-FFF2-40B4-BE49-F238E27FC236}">
                <a16:creationId xmlns:a16="http://schemas.microsoft.com/office/drawing/2014/main" id="{9F8D3B6C-31E8-2C51-E273-0A13E13B91A4}"/>
              </a:ext>
            </a:extLst>
          </p:cNvPr>
          <p:cNvSpPr>
            <a:spLocks noGrp="1"/>
          </p:cNvSpPr>
          <p:nvPr>
            <p:ph type="body" sz="quarter" idx="16"/>
          </p:nvPr>
        </p:nvSpPr>
        <p:spPr>
          <a:xfrm>
            <a:off x="3943142"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6" name="Text Placeholder 7">
            <a:extLst>
              <a:ext uri="{FF2B5EF4-FFF2-40B4-BE49-F238E27FC236}">
                <a16:creationId xmlns:a16="http://schemas.microsoft.com/office/drawing/2014/main" id="{F0D3D17D-FECA-E783-BA52-339F0D1AE7CE}"/>
              </a:ext>
            </a:extLst>
          </p:cNvPr>
          <p:cNvSpPr>
            <a:spLocks noGrp="1"/>
          </p:cNvSpPr>
          <p:nvPr>
            <p:ph type="body" sz="quarter" idx="17"/>
          </p:nvPr>
        </p:nvSpPr>
        <p:spPr>
          <a:xfrm>
            <a:off x="3943142"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7" name="Text Placeholder 7">
            <a:extLst>
              <a:ext uri="{FF2B5EF4-FFF2-40B4-BE49-F238E27FC236}">
                <a16:creationId xmlns:a16="http://schemas.microsoft.com/office/drawing/2014/main" id="{3D3A640B-1842-DA85-D639-2CD5AC461BAA}"/>
              </a:ext>
            </a:extLst>
          </p:cNvPr>
          <p:cNvSpPr>
            <a:spLocks noGrp="1"/>
          </p:cNvSpPr>
          <p:nvPr>
            <p:ph type="body" sz="quarter" idx="18"/>
          </p:nvPr>
        </p:nvSpPr>
        <p:spPr>
          <a:xfrm>
            <a:off x="6427193"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28" name="Text Placeholder 7">
            <a:extLst>
              <a:ext uri="{FF2B5EF4-FFF2-40B4-BE49-F238E27FC236}">
                <a16:creationId xmlns:a16="http://schemas.microsoft.com/office/drawing/2014/main" id="{B3D40290-6245-A2B8-2EDE-530C1ED25B3D}"/>
              </a:ext>
            </a:extLst>
          </p:cNvPr>
          <p:cNvSpPr>
            <a:spLocks noGrp="1"/>
          </p:cNvSpPr>
          <p:nvPr>
            <p:ph type="body" sz="quarter" idx="19"/>
          </p:nvPr>
        </p:nvSpPr>
        <p:spPr>
          <a:xfrm>
            <a:off x="6427193"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A21FD3EB-AFDC-A517-A91B-3FE4C3C9F358}"/>
              </a:ext>
            </a:extLst>
          </p:cNvPr>
          <p:cNvSpPr>
            <a:spLocks noGrp="1"/>
          </p:cNvSpPr>
          <p:nvPr>
            <p:ph type="body" sz="quarter" idx="20"/>
          </p:nvPr>
        </p:nvSpPr>
        <p:spPr>
          <a:xfrm>
            <a:off x="8911245" y="4150875"/>
            <a:ext cx="1821664"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C65D1856-249E-433E-7B94-FAE7280AEED2}"/>
              </a:ext>
            </a:extLst>
          </p:cNvPr>
          <p:cNvSpPr>
            <a:spLocks noGrp="1"/>
          </p:cNvSpPr>
          <p:nvPr>
            <p:ph type="body" sz="quarter" idx="21"/>
          </p:nvPr>
        </p:nvSpPr>
        <p:spPr>
          <a:xfrm>
            <a:off x="8911245" y="3709871"/>
            <a:ext cx="1821664"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29400505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rd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661CEA4A-EE0E-ABAB-59E9-8E3562B59004}"/>
              </a:ext>
            </a:extLst>
          </p:cNvPr>
          <p:cNvSpPr>
            <a:spLocks noGrp="1"/>
          </p:cNvSpPr>
          <p:nvPr userDrawn="1">
            <p:ph type="body" sz="quarter" idx="12"/>
          </p:nvPr>
        </p:nvSpPr>
        <p:spPr>
          <a:xfrm>
            <a:off x="915924" y="1173074"/>
            <a:ext cx="10360152" cy="553998"/>
          </a:xfrm>
          <a:prstGeom prst="rect">
            <a:avLst/>
          </a:prstGeom>
        </p:spPr>
        <p:txBody>
          <a:bodyPr>
            <a:spAutoFit/>
          </a:bodyPr>
          <a:lstStyle>
            <a:lvl1pPr marL="0" indent="0" algn="ctr">
              <a:lnSpc>
                <a:spcPct val="100000"/>
              </a:lnSpc>
              <a:spcBef>
                <a:spcPts val="0"/>
              </a:spcBef>
              <a:buNone/>
              <a:defRPr sz="3000" b="1">
                <a:solidFill>
                  <a:schemeClr val="bg1"/>
                </a:solidFill>
                <a:latin typeface="+mj-lt"/>
              </a:defRPr>
            </a:lvl1pPr>
          </a:lstStyle>
          <a:p>
            <a:pPr lvl="0"/>
            <a:endParaRPr lang="en-US"/>
          </a:p>
        </p:txBody>
      </p:sp>
      <p:sp>
        <p:nvSpPr>
          <p:cNvPr id="22" name="Text Placeholder 7">
            <a:extLst>
              <a:ext uri="{FF2B5EF4-FFF2-40B4-BE49-F238E27FC236}">
                <a16:creationId xmlns:a16="http://schemas.microsoft.com/office/drawing/2014/main" id="{846DEDFD-4A6E-8DDA-E0BD-FF5E47CB966F}"/>
              </a:ext>
            </a:extLst>
          </p:cNvPr>
          <p:cNvSpPr>
            <a:spLocks noGrp="1"/>
          </p:cNvSpPr>
          <p:nvPr userDrawn="1">
            <p:ph type="body" sz="quarter" idx="13"/>
          </p:nvPr>
        </p:nvSpPr>
        <p:spPr>
          <a:xfrm>
            <a:off x="915924" y="1758524"/>
            <a:ext cx="10360152" cy="400110"/>
          </a:xfrm>
          <a:prstGeom prst="rect">
            <a:avLst/>
          </a:prstGeom>
        </p:spPr>
        <p:txBody>
          <a:bodyPr>
            <a:spAutoFit/>
          </a:bodyPr>
          <a:lstStyle>
            <a:lvl1pPr marL="0" indent="0" algn="ctr">
              <a:lnSpc>
                <a:spcPct val="100000"/>
              </a:lnSpc>
              <a:spcBef>
                <a:spcPts val="0"/>
              </a:spcBef>
              <a:buNone/>
              <a:defRPr sz="2000" b="1">
                <a:solidFill>
                  <a:schemeClr val="accent2"/>
                </a:solidFill>
                <a:latin typeface="+mj-lt"/>
              </a:defRPr>
            </a:lvl1pPr>
          </a:lstStyle>
          <a:p>
            <a:pPr lvl="0"/>
            <a:endParaRPr lang="en-US"/>
          </a:p>
        </p:txBody>
      </p:sp>
      <p:grpSp>
        <p:nvGrpSpPr>
          <p:cNvPr id="37" name="Group 36">
            <a:extLst>
              <a:ext uri="{FF2B5EF4-FFF2-40B4-BE49-F238E27FC236}">
                <a16:creationId xmlns:a16="http://schemas.microsoft.com/office/drawing/2014/main" id="{F7FC0A56-DEC2-F27A-D955-25A62F5F2C3D}"/>
              </a:ext>
            </a:extLst>
          </p:cNvPr>
          <p:cNvGrpSpPr/>
          <p:nvPr userDrawn="1"/>
        </p:nvGrpSpPr>
        <p:grpSpPr>
          <a:xfrm>
            <a:off x="9639298" y="2707125"/>
            <a:ext cx="2093978" cy="2840476"/>
            <a:chOff x="9639298" y="2707125"/>
            <a:chExt cx="2093978" cy="2840476"/>
          </a:xfrm>
        </p:grpSpPr>
        <p:sp>
          <p:nvSpPr>
            <p:cNvPr id="32" name="Rectangle 31">
              <a:extLst>
                <a:ext uri="{FF2B5EF4-FFF2-40B4-BE49-F238E27FC236}">
                  <a16:creationId xmlns:a16="http://schemas.microsoft.com/office/drawing/2014/main" id="{6204AD10-D1B0-4FAD-5A0D-FCE6ED050A04}"/>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0E033368-E47D-01FB-6315-3BC8B595D608}"/>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a:extLst>
                <a:ext uri="{FF2B5EF4-FFF2-40B4-BE49-F238E27FC236}">
                  <a16:creationId xmlns:a16="http://schemas.microsoft.com/office/drawing/2014/main" id="{3602EAEB-B21D-CAE5-9534-8272DD8CAAE3}"/>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7">
            <a:extLst>
              <a:ext uri="{FF2B5EF4-FFF2-40B4-BE49-F238E27FC236}">
                <a16:creationId xmlns:a16="http://schemas.microsoft.com/office/drawing/2014/main" id="{8E342E35-3B3E-E874-A2E9-0D42AC5C10BC}"/>
              </a:ext>
            </a:extLst>
          </p:cNvPr>
          <p:cNvSpPr>
            <a:spLocks noGrp="1"/>
          </p:cNvSpPr>
          <p:nvPr userDrawn="1">
            <p:ph type="body" sz="quarter" idx="22"/>
          </p:nvPr>
        </p:nvSpPr>
        <p:spPr>
          <a:xfrm>
            <a:off x="9797693"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36" name="Text Placeholder 7">
            <a:extLst>
              <a:ext uri="{FF2B5EF4-FFF2-40B4-BE49-F238E27FC236}">
                <a16:creationId xmlns:a16="http://schemas.microsoft.com/office/drawing/2014/main" id="{941A491F-D611-97A1-16C2-EACCA685A23A}"/>
              </a:ext>
            </a:extLst>
          </p:cNvPr>
          <p:cNvSpPr>
            <a:spLocks noGrp="1"/>
          </p:cNvSpPr>
          <p:nvPr userDrawn="1">
            <p:ph type="body" sz="quarter" idx="23"/>
          </p:nvPr>
        </p:nvSpPr>
        <p:spPr>
          <a:xfrm>
            <a:off x="9797693"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grpSp>
        <p:nvGrpSpPr>
          <p:cNvPr id="38" name="Group 37">
            <a:extLst>
              <a:ext uri="{FF2B5EF4-FFF2-40B4-BE49-F238E27FC236}">
                <a16:creationId xmlns:a16="http://schemas.microsoft.com/office/drawing/2014/main" id="{6E92408C-C386-D3D7-C0C6-02D217147929}"/>
              </a:ext>
            </a:extLst>
          </p:cNvPr>
          <p:cNvGrpSpPr/>
          <p:nvPr userDrawn="1"/>
        </p:nvGrpSpPr>
        <p:grpSpPr>
          <a:xfrm>
            <a:off x="458724" y="2707125"/>
            <a:ext cx="2093978" cy="2840476"/>
            <a:chOff x="9639298" y="2707125"/>
            <a:chExt cx="2093978" cy="2840476"/>
          </a:xfrm>
        </p:grpSpPr>
        <p:sp>
          <p:nvSpPr>
            <p:cNvPr id="39" name="Rectangle 38">
              <a:extLst>
                <a:ext uri="{FF2B5EF4-FFF2-40B4-BE49-F238E27FC236}">
                  <a16:creationId xmlns:a16="http://schemas.microsoft.com/office/drawing/2014/main" id="{CCA3DB6C-178B-D68B-C734-D9F557912250}"/>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a16="http://schemas.microsoft.com/office/drawing/2014/main" id="{C709E21D-F972-067F-240A-66CC3781CBDD}"/>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E53CC2F9-5B59-5AD2-31F8-5E59DA708324}"/>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a:extLst>
              <a:ext uri="{FF2B5EF4-FFF2-40B4-BE49-F238E27FC236}">
                <a16:creationId xmlns:a16="http://schemas.microsoft.com/office/drawing/2014/main" id="{9178E63C-A2A5-728A-9E04-DF2F7510238A}"/>
              </a:ext>
            </a:extLst>
          </p:cNvPr>
          <p:cNvGrpSpPr/>
          <p:nvPr userDrawn="1"/>
        </p:nvGrpSpPr>
        <p:grpSpPr>
          <a:xfrm>
            <a:off x="7344153" y="2707125"/>
            <a:ext cx="2093978" cy="2840476"/>
            <a:chOff x="9639298" y="2707125"/>
            <a:chExt cx="2093978" cy="2840476"/>
          </a:xfrm>
        </p:grpSpPr>
        <p:sp>
          <p:nvSpPr>
            <p:cNvPr id="43" name="Rectangle 42">
              <a:extLst>
                <a:ext uri="{FF2B5EF4-FFF2-40B4-BE49-F238E27FC236}">
                  <a16:creationId xmlns:a16="http://schemas.microsoft.com/office/drawing/2014/main" id="{205618B5-AE85-695F-49F9-EADAF8030169}"/>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D09DBB92-28B4-9403-ED53-E872138A238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7B8D855F-50E1-6C69-4530-7DEEE17174BF}"/>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Group 45">
            <a:extLst>
              <a:ext uri="{FF2B5EF4-FFF2-40B4-BE49-F238E27FC236}">
                <a16:creationId xmlns:a16="http://schemas.microsoft.com/office/drawing/2014/main" id="{A0E8C2C3-C43D-6A9F-D68D-03FAA7B51B52}"/>
              </a:ext>
            </a:extLst>
          </p:cNvPr>
          <p:cNvGrpSpPr/>
          <p:nvPr userDrawn="1"/>
        </p:nvGrpSpPr>
        <p:grpSpPr>
          <a:xfrm>
            <a:off x="5049010" y="2707125"/>
            <a:ext cx="2093978" cy="2840476"/>
            <a:chOff x="9639298" y="2707125"/>
            <a:chExt cx="2093978" cy="2840476"/>
          </a:xfrm>
        </p:grpSpPr>
        <p:sp>
          <p:nvSpPr>
            <p:cNvPr id="47" name="Rectangle 46">
              <a:extLst>
                <a:ext uri="{FF2B5EF4-FFF2-40B4-BE49-F238E27FC236}">
                  <a16:creationId xmlns:a16="http://schemas.microsoft.com/office/drawing/2014/main" id="{0626428E-EE03-7D80-D795-F605EEEBE611}"/>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a:extLst>
                <a:ext uri="{FF2B5EF4-FFF2-40B4-BE49-F238E27FC236}">
                  <a16:creationId xmlns:a16="http://schemas.microsoft.com/office/drawing/2014/main" id="{9883EDEA-DA49-FBE3-408C-9BD3DC4F99DE}"/>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6D651B70-40BB-55F1-72AB-9B546F3D7650}"/>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0" name="Group 49">
            <a:extLst>
              <a:ext uri="{FF2B5EF4-FFF2-40B4-BE49-F238E27FC236}">
                <a16:creationId xmlns:a16="http://schemas.microsoft.com/office/drawing/2014/main" id="{63138260-91B3-0D50-EDB5-BE4DAD41F8CB}"/>
              </a:ext>
            </a:extLst>
          </p:cNvPr>
          <p:cNvGrpSpPr/>
          <p:nvPr userDrawn="1"/>
        </p:nvGrpSpPr>
        <p:grpSpPr>
          <a:xfrm>
            <a:off x="2753867" y="2707125"/>
            <a:ext cx="2093978" cy="2840476"/>
            <a:chOff x="9639298" y="2707125"/>
            <a:chExt cx="2093978" cy="2840476"/>
          </a:xfrm>
        </p:grpSpPr>
        <p:sp>
          <p:nvSpPr>
            <p:cNvPr id="51" name="Rectangle 50">
              <a:extLst>
                <a:ext uri="{FF2B5EF4-FFF2-40B4-BE49-F238E27FC236}">
                  <a16:creationId xmlns:a16="http://schemas.microsoft.com/office/drawing/2014/main" id="{DA1F3357-6A96-9D93-36A9-F1828879A6DE}"/>
                </a:ext>
              </a:extLst>
            </p:cNvPr>
            <p:cNvSpPr/>
            <p:nvPr userDrawn="1"/>
          </p:nvSpPr>
          <p:spPr>
            <a:xfrm>
              <a:off x="9639300" y="3170473"/>
              <a:ext cx="2093976" cy="2377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a:extLst>
                <a:ext uri="{FF2B5EF4-FFF2-40B4-BE49-F238E27FC236}">
                  <a16:creationId xmlns:a16="http://schemas.microsoft.com/office/drawing/2014/main" id="{9E5C6387-F334-EF1F-4234-C9BFFAEEDAFC}"/>
                </a:ext>
              </a:extLst>
            </p:cNvPr>
            <p:cNvSpPr>
              <a:spLocks noChangeAspect="1"/>
            </p:cNvSpPr>
            <p:nvPr userDrawn="1"/>
          </p:nvSpPr>
          <p:spPr>
            <a:xfrm>
              <a:off x="10229088" y="2707125"/>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7114BFE0-9DA4-F591-760F-FB6B45A80B8B}"/>
                </a:ext>
              </a:extLst>
            </p:cNvPr>
            <p:cNvSpPr/>
            <p:nvPr userDrawn="1"/>
          </p:nvSpPr>
          <p:spPr>
            <a:xfrm>
              <a:off x="9639298" y="5404968"/>
              <a:ext cx="2093977" cy="1426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4" name="Text Placeholder 7">
            <a:extLst>
              <a:ext uri="{FF2B5EF4-FFF2-40B4-BE49-F238E27FC236}">
                <a16:creationId xmlns:a16="http://schemas.microsoft.com/office/drawing/2014/main" id="{042ED969-DC44-7C31-DBA6-0A656CEF5DBA}"/>
              </a:ext>
            </a:extLst>
          </p:cNvPr>
          <p:cNvSpPr>
            <a:spLocks noGrp="1"/>
          </p:cNvSpPr>
          <p:nvPr>
            <p:ph type="body" sz="quarter" idx="24"/>
          </p:nvPr>
        </p:nvSpPr>
        <p:spPr>
          <a:xfrm>
            <a:off x="7502547"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5" name="Text Placeholder 7">
            <a:extLst>
              <a:ext uri="{FF2B5EF4-FFF2-40B4-BE49-F238E27FC236}">
                <a16:creationId xmlns:a16="http://schemas.microsoft.com/office/drawing/2014/main" id="{30D581CD-5D21-6A48-0246-BF07C8EB7F5C}"/>
              </a:ext>
            </a:extLst>
          </p:cNvPr>
          <p:cNvSpPr>
            <a:spLocks noGrp="1"/>
          </p:cNvSpPr>
          <p:nvPr>
            <p:ph type="body" sz="quarter" idx="25"/>
          </p:nvPr>
        </p:nvSpPr>
        <p:spPr>
          <a:xfrm>
            <a:off x="7502547"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6" name="Text Placeholder 7">
            <a:extLst>
              <a:ext uri="{FF2B5EF4-FFF2-40B4-BE49-F238E27FC236}">
                <a16:creationId xmlns:a16="http://schemas.microsoft.com/office/drawing/2014/main" id="{34BA5EFA-538E-9B80-C7ED-B686E6E2C673}"/>
              </a:ext>
            </a:extLst>
          </p:cNvPr>
          <p:cNvSpPr>
            <a:spLocks noGrp="1"/>
          </p:cNvSpPr>
          <p:nvPr>
            <p:ph type="body" sz="quarter" idx="26"/>
          </p:nvPr>
        </p:nvSpPr>
        <p:spPr>
          <a:xfrm>
            <a:off x="5207405"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7" name="Text Placeholder 7">
            <a:extLst>
              <a:ext uri="{FF2B5EF4-FFF2-40B4-BE49-F238E27FC236}">
                <a16:creationId xmlns:a16="http://schemas.microsoft.com/office/drawing/2014/main" id="{580BA9A7-9445-E2BF-1A02-47075E0A4C69}"/>
              </a:ext>
            </a:extLst>
          </p:cNvPr>
          <p:cNvSpPr>
            <a:spLocks noGrp="1"/>
          </p:cNvSpPr>
          <p:nvPr>
            <p:ph type="body" sz="quarter" idx="27"/>
          </p:nvPr>
        </p:nvSpPr>
        <p:spPr>
          <a:xfrm>
            <a:off x="5207405"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58" name="Text Placeholder 7">
            <a:extLst>
              <a:ext uri="{FF2B5EF4-FFF2-40B4-BE49-F238E27FC236}">
                <a16:creationId xmlns:a16="http://schemas.microsoft.com/office/drawing/2014/main" id="{AB2FA8B3-D259-F20F-2583-BF33B22E641F}"/>
              </a:ext>
            </a:extLst>
          </p:cNvPr>
          <p:cNvSpPr>
            <a:spLocks noGrp="1"/>
          </p:cNvSpPr>
          <p:nvPr>
            <p:ph type="body" sz="quarter" idx="28"/>
          </p:nvPr>
        </p:nvSpPr>
        <p:spPr>
          <a:xfrm>
            <a:off x="2912259"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59" name="Text Placeholder 7">
            <a:extLst>
              <a:ext uri="{FF2B5EF4-FFF2-40B4-BE49-F238E27FC236}">
                <a16:creationId xmlns:a16="http://schemas.microsoft.com/office/drawing/2014/main" id="{43846753-4575-FB01-C613-FF1C4ACBEDDC}"/>
              </a:ext>
            </a:extLst>
          </p:cNvPr>
          <p:cNvSpPr>
            <a:spLocks noGrp="1"/>
          </p:cNvSpPr>
          <p:nvPr>
            <p:ph type="body" sz="quarter" idx="29"/>
          </p:nvPr>
        </p:nvSpPr>
        <p:spPr>
          <a:xfrm>
            <a:off x="2912259"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
        <p:nvSpPr>
          <p:cNvPr id="64" name="Text Placeholder 7">
            <a:extLst>
              <a:ext uri="{FF2B5EF4-FFF2-40B4-BE49-F238E27FC236}">
                <a16:creationId xmlns:a16="http://schemas.microsoft.com/office/drawing/2014/main" id="{9510D576-D1BA-83BD-F97F-8AED822CB19E}"/>
              </a:ext>
            </a:extLst>
          </p:cNvPr>
          <p:cNvSpPr>
            <a:spLocks noGrp="1"/>
          </p:cNvSpPr>
          <p:nvPr>
            <p:ph type="body" sz="quarter" idx="30"/>
          </p:nvPr>
        </p:nvSpPr>
        <p:spPr>
          <a:xfrm>
            <a:off x="617116" y="4143943"/>
            <a:ext cx="1777191" cy="169277"/>
          </a:xfrm>
          <a:prstGeom prst="rect">
            <a:avLst/>
          </a:prstGeom>
        </p:spPr>
        <p:txBody>
          <a:bodyPr wrap="square" lIns="0" tIns="0" rIns="0" bIns="0">
            <a:spAutoFit/>
          </a:bodyPr>
          <a:lstStyle>
            <a:lvl1pPr marL="0" indent="0" algn="ctr">
              <a:lnSpc>
                <a:spcPct val="100000"/>
              </a:lnSpc>
              <a:spcBef>
                <a:spcPts val="0"/>
              </a:spcBef>
              <a:buNone/>
              <a:defRPr sz="1100" b="0">
                <a:solidFill>
                  <a:schemeClr val="tx1"/>
                </a:solidFill>
                <a:latin typeface="+mn-lt"/>
              </a:defRPr>
            </a:lvl1pPr>
          </a:lstStyle>
          <a:p>
            <a:pPr lvl="0"/>
            <a:endParaRPr lang="en-US"/>
          </a:p>
        </p:txBody>
      </p:sp>
      <p:sp>
        <p:nvSpPr>
          <p:cNvPr id="65" name="Text Placeholder 7">
            <a:extLst>
              <a:ext uri="{FF2B5EF4-FFF2-40B4-BE49-F238E27FC236}">
                <a16:creationId xmlns:a16="http://schemas.microsoft.com/office/drawing/2014/main" id="{9116D161-5973-D242-ECF2-DA56885325A3}"/>
              </a:ext>
            </a:extLst>
          </p:cNvPr>
          <p:cNvSpPr>
            <a:spLocks noGrp="1"/>
          </p:cNvSpPr>
          <p:nvPr>
            <p:ph type="body" sz="quarter" idx="31"/>
          </p:nvPr>
        </p:nvSpPr>
        <p:spPr>
          <a:xfrm>
            <a:off x="617116" y="3702939"/>
            <a:ext cx="1777191" cy="276999"/>
          </a:xfrm>
          <a:prstGeom prst="rect">
            <a:avLst/>
          </a:prstGeom>
        </p:spPr>
        <p:txBody>
          <a:bodyPr wrap="square" lIns="0" tIns="0" rIns="0" bIns="0">
            <a:spAutoFit/>
          </a:bodyPr>
          <a:lstStyle>
            <a:lvl1pPr marL="0" indent="0" algn="ctr">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1649289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8AA339-F9FB-3A7A-B368-A9FA72CEBEF4}"/>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a:extLst>
              <a:ext uri="{FF2B5EF4-FFF2-40B4-BE49-F238E27FC236}">
                <a16:creationId xmlns:a16="http://schemas.microsoft.com/office/drawing/2014/main" id="{C836051B-F70C-93BE-6767-ACBBC3D7DD28}"/>
              </a:ext>
            </a:extLst>
          </p:cNvPr>
          <p:cNvGrpSpPr/>
          <p:nvPr userDrawn="1"/>
        </p:nvGrpSpPr>
        <p:grpSpPr>
          <a:xfrm>
            <a:off x="1646232" y="5423646"/>
            <a:ext cx="7128883" cy="740972"/>
            <a:chOff x="2180217" y="5423646"/>
            <a:chExt cx="7128883" cy="740972"/>
          </a:xfrm>
        </p:grpSpPr>
        <p:pic>
          <p:nvPicPr>
            <p:cNvPr id="2" name="Graphic 1">
              <a:extLst>
                <a:ext uri="{FF2B5EF4-FFF2-40B4-BE49-F238E27FC236}">
                  <a16:creationId xmlns:a16="http://schemas.microsoft.com/office/drawing/2014/main" id="{84405EF9-3384-7629-B5C8-7D4E618A27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80217" y="5483435"/>
              <a:ext cx="1953633" cy="609390"/>
            </a:xfrm>
            <a:prstGeom prst="rect">
              <a:avLst/>
            </a:prstGeom>
          </p:spPr>
        </p:pic>
        <p:cxnSp>
          <p:nvCxnSpPr>
            <p:cNvPr id="4" name="Straight Connector 3">
              <a:extLst>
                <a:ext uri="{FF2B5EF4-FFF2-40B4-BE49-F238E27FC236}">
                  <a16:creationId xmlns:a16="http://schemas.microsoft.com/office/drawing/2014/main" id="{CA11A4DE-655C-7642-8310-CAC4EF480331}"/>
                </a:ext>
              </a:extLst>
            </p:cNvPr>
            <p:cNvCxnSpPr/>
            <p:nvPr userDrawn="1"/>
          </p:nvCxnSpPr>
          <p:spPr>
            <a:xfrm>
              <a:off x="4470400" y="5467350"/>
              <a:ext cx="0" cy="6858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F23FA49-A362-DE1A-B88C-D319817DFD2F}"/>
                </a:ext>
              </a:extLst>
            </p:cNvPr>
            <p:cNvSpPr txBox="1"/>
            <p:nvPr userDrawn="1"/>
          </p:nvSpPr>
          <p:spPr>
            <a:xfrm>
              <a:off x="4704348" y="5423646"/>
              <a:ext cx="4604752" cy="740972"/>
            </a:xfrm>
            <a:prstGeom prst="rect">
              <a:avLst/>
            </a:prstGeom>
            <a:noFill/>
          </p:spPr>
          <p:txBody>
            <a:bodyPr wrap="square" rtlCol="0">
              <a:spAutoFit/>
            </a:bodyPr>
            <a:lstStyle/>
            <a:p>
              <a:pPr>
                <a:lnSpc>
                  <a:spcPct val="110000"/>
                </a:lnSpc>
              </a:pPr>
              <a:r>
                <a:rPr lang="en-US" sz="1300" i="0" dirty="0">
                  <a:solidFill>
                    <a:schemeClr val="bg1"/>
                  </a:solidFill>
                  <a:latin typeface="+mn-lt"/>
                  <a:cs typeface="Poppins" panose="00000500000000000000" pitchFamily="2" charset="0"/>
                </a:rPr>
                <a:t>We mobilize people, data, and solutions across the value chain to reduce waste and our impact on the environment while also unlocking economic benefits.</a:t>
              </a:r>
            </a:p>
          </p:txBody>
        </p:sp>
      </p:grpSp>
      <p:sp>
        <p:nvSpPr>
          <p:cNvPr id="8" name="object 12">
            <a:extLst>
              <a:ext uri="{FF2B5EF4-FFF2-40B4-BE49-F238E27FC236}">
                <a16:creationId xmlns:a16="http://schemas.microsoft.com/office/drawing/2014/main" id="{004BD197-4298-48C4-7FF5-A641D01826B2}"/>
              </a:ext>
            </a:extLst>
          </p:cNvPr>
          <p:cNvSpPr txBox="1"/>
          <p:nvPr userDrawn="1"/>
        </p:nvSpPr>
        <p:spPr>
          <a:xfrm>
            <a:off x="1581373" y="1200520"/>
            <a:ext cx="1916570" cy="400110"/>
          </a:xfrm>
          <a:prstGeom prst="rect">
            <a:avLst/>
          </a:prstGeom>
        </p:spPr>
        <p:txBody>
          <a:bodyPr vert="horz" wrap="square" lIns="91440" tIns="45720" rIns="91440" bIns="45720" rtlCol="0">
            <a:spAutoFit/>
          </a:bodyPr>
          <a:lstStyle/>
          <a:p>
            <a:pPr marL="7701">
              <a:spcBef>
                <a:spcPts val="76"/>
              </a:spcBef>
            </a:pPr>
            <a:r>
              <a:rPr sz="2000" b="1" dirty="0">
                <a:solidFill>
                  <a:schemeClr val="accent2"/>
                </a:solidFill>
                <a:latin typeface="+mj-lt"/>
                <a:cs typeface="Roboto"/>
              </a:rPr>
              <a:t>Get</a:t>
            </a:r>
            <a:r>
              <a:rPr sz="2000" b="1" spc="-3" dirty="0">
                <a:solidFill>
                  <a:schemeClr val="accent2"/>
                </a:solidFill>
                <a:latin typeface="+mj-lt"/>
                <a:cs typeface="Roboto"/>
              </a:rPr>
              <a:t> </a:t>
            </a:r>
            <a:r>
              <a:rPr sz="2000" b="1" dirty="0">
                <a:solidFill>
                  <a:schemeClr val="accent2"/>
                </a:solidFill>
                <a:latin typeface="+mj-lt"/>
                <a:cs typeface="Roboto"/>
              </a:rPr>
              <a:t>in</a:t>
            </a:r>
            <a:r>
              <a:rPr sz="2000" b="1" spc="-61" dirty="0">
                <a:solidFill>
                  <a:schemeClr val="accent2"/>
                </a:solidFill>
                <a:latin typeface="+mj-lt"/>
                <a:cs typeface="Roboto"/>
              </a:rPr>
              <a:t> </a:t>
            </a:r>
            <a:r>
              <a:rPr sz="2000" b="1" spc="-21" dirty="0">
                <a:solidFill>
                  <a:schemeClr val="accent2"/>
                </a:solidFill>
                <a:latin typeface="+mj-lt"/>
                <a:cs typeface="Roboto"/>
              </a:rPr>
              <a:t>Touch:</a:t>
            </a:r>
            <a:endParaRPr sz="2000" dirty="0">
              <a:solidFill>
                <a:schemeClr val="accent2"/>
              </a:solidFill>
              <a:latin typeface="+mj-lt"/>
              <a:cs typeface="Roboto"/>
            </a:endParaRPr>
          </a:p>
        </p:txBody>
      </p:sp>
      <p:sp>
        <p:nvSpPr>
          <p:cNvPr id="9" name="Text Placeholder 7">
            <a:extLst>
              <a:ext uri="{FF2B5EF4-FFF2-40B4-BE49-F238E27FC236}">
                <a16:creationId xmlns:a16="http://schemas.microsoft.com/office/drawing/2014/main" id="{93829A09-8E5E-B4C8-63AF-A2D96228EBF0}"/>
              </a:ext>
            </a:extLst>
          </p:cNvPr>
          <p:cNvSpPr>
            <a:spLocks noGrp="1"/>
          </p:cNvSpPr>
          <p:nvPr>
            <p:ph type="body" sz="quarter" idx="12"/>
          </p:nvPr>
        </p:nvSpPr>
        <p:spPr>
          <a:xfrm>
            <a:off x="1581372" y="2077650"/>
            <a:ext cx="7805815" cy="553998"/>
          </a:xfrm>
          <a:prstGeom prst="rect">
            <a:avLst/>
          </a:prstGeom>
        </p:spPr>
        <p:txBody>
          <a:bodyPr wrap="square">
            <a:spAutoFit/>
          </a:bodyPr>
          <a:lstStyle>
            <a:lvl1pPr marL="0" indent="0" algn="l">
              <a:lnSpc>
                <a:spcPct val="100000"/>
              </a:lnSpc>
              <a:spcBef>
                <a:spcPts val="0"/>
              </a:spcBef>
              <a:buNone/>
              <a:defRPr sz="3000" b="1">
                <a:solidFill>
                  <a:schemeClr val="bg1"/>
                </a:solidFill>
                <a:latin typeface="+mj-lt"/>
              </a:defRPr>
            </a:lvl1pPr>
          </a:lstStyle>
          <a:p>
            <a:pPr lvl="0"/>
            <a:endParaRPr lang="en-US"/>
          </a:p>
        </p:txBody>
      </p:sp>
      <p:sp>
        <p:nvSpPr>
          <p:cNvPr id="10" name="Text Placeholder 7">
            <a:extLst>
              <a:ext uri="{FF2B5EF4-FFF2-40B4-BE49-F238E27FC236}">
                <a16:creationId xmlns:a16="http://schemas.microsoft.com/office/drawing/2014/main" id="{5A74FD6B-06DD-BDBA-3CEA-6BBF32A0824A}"/>
              </a:ext>
            </a:extLst>
          </p:cNvPr>
          <p:cNvSpPr>
            <a:spLocks noGrp="1"/>
          </p:cNvSpPr>
          <p:nvPr>
            <p:ph type="body" sz="quarter" idx="13"/>
          </p:nvPr>
        </p:nvSpPr>
        <p:spPr>
          <a:xfrm>
            <a:off x="2142668" y="2825664"/>
            <a:ext cx="7084569" cy="400110"/>
          </a:xfrm>
          <a:prstGeom prst="rect">
            <a:avLst/>
          </a:prstGeom>
        </p:spPr>
        <p:txBody>
          <a:bodyPr wrap="square">
            <a:spAutoFit/>
          </a:bodyPr>
          <a:lstStyle>
            <a:lvl1pPr marL="0" indent="0" algn="l">
              <a:lnSpc>
                <a:spcPct val="100000"/>
              </a:lnSpc>
              <a:spcBef>
                <a:spcPts val="0"/>
              </a:spcBef>
              <a:buNone/>
              <a:defRPr sz="2000" b="1">
                <a:solidFill>
                  <a:schemeClr val="bg1"/>
                </a:solidFill>
                <a:latin typeface="+mj-lt"/>
              </a:defRPr>
            </a:lvl1pPr>
          </a:lstStyle>
          <a:p>
            <a:pPr lvl="0"/>
            <a:endParaRPr lang="en-US"/>
          </a:p>
        </p:txBody>
      </p:sp>
      <p:sp>
        <p:nvSpPr>
          <p:cNvPr id="11" name="Text Placeholder 7">
            <a:extLst>
              <a:ext uri="{FF2B5EF4-FFF2-40B4-BE49-F238E27FC236}">
                <a16:creationId xmlns:a16="http://schemas.microsoft.com/office/drawing/2014/main" id="{6076DA32-F223-36EC-827D-CFB0B7EA1D07}"/>
              </a:ext>
            </a:extLst>
          </p:cNvPr>
          <p:cNvSpPr>
            <a:spLocks noGrp="1"/>
          </p:cNvSpPr>
          <p:nvPr>
            <p:ph type="body" sz="quarter" idx="14"/>
          </p:nvPr>
        </p:nvSpPr>
        <p:spPr>
          <a:xfrm>
            <a:off x="2142668" y="3372410"/>
            <a:ext cx="7084569" cy="400110"/>
          </a:xfrm>
          <a:prstGeom prst="rect">
            <a:avLst/>
          </a:prstGeom>
        </p:spPr>
        <p:txBody>
          <a:bodyPr wrap="square">
            <a:spAutoFit/>
          </a:bodyPr>
          <a:lstStyle>
            <a:lvl1pPr marL="0" indent="0" algn="l">
              <a:lnSpc>
                <a:spcPct val="100000"/>
              </a:lnSpc>
              <a:spcBef>
                <a:spcPts val="0"/>
              </a:spcBef>
              <a:buNone/>
              <a:defRPr sz="2000" b="1">
                <a:solidFill>
                  <a:schemeClr val="bg1"/>
                </a:solidFill>
                <a:latin typeface="+mj-lt"/>
              </a:defRPr>
            </a:lvl1pPr>
          </a:lstStyle>
          <a:p>
            <a:pPr lvl="0"/>
            <a:endParaRPr lang="en-US"/>
          </a:p>
        </p:txBody>
      </p:sp>
      <p:pic>
        <p:nvPicPr>
          <p:cNvPr id="12" name="Graphic 11">
            <a:extLst>
              <a:ext uri="{FF2B5EF4-FFF2-40B4-BE49-F238E27FC236}">
                <a16:creationId xmlns:a16="http://schemas.microsoft.com/office/drawing/2014/main" id="{C7972A7C-1D83-3F66-33F4-C8E05D61C73A}"/>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18802" y="2911419"/>
            <a:ext cx="304800" cy="228600"/>
          </a:xfrm>
          <a:prstGeom prst="rect">
            <a:avLst/>
          </a:prstGeom>
        </p:spPr>
      </p:pic>
      <p:pic>
        <p:nvPicPr>
          <p:cNvPr id="13" name="Graphic 12">
            <a:extLst>
              <a:ext uri="{FF2B5EF4-FFF2-40B4-BE49-F238E27FC236}">
                <a16:creationId xmlns:a16="http://schemas.microsoft.com/office/drawing/2014/main" id="{8A64C39C-FBEA-45AE-7B3E-EB4B909464E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27737" y="3429000"/>
            <a:ext cx="286930" cy="286930"/>
          </a:xfrm>
          <a:prstGeom prst="rect">
            <a:avLst/>
          </a:prstGeom>
        </p:spPr>
      </p:pic>
    </p:spTree>
    <p:extLst>
      <p:ext uri="{BB962C8B-B14F-4D97-AF65-F5344CB8AC3E}">
        <p14:creationId xmlns:p14="http://schemas.microsoft.com/office/powerpoint/2010/main" val="25703755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C26505-43B1-A14C-88B1-E8AD99ABD780}" type="datetimeFigureOut">
              <a:rPr lang="en-US" smtClean="0"/>
              <a:t>10/22/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E853CF3-250B-0948-9FA0-1A992E092448}" type="slidenum">
              <a:rPr lang="en-US" smtClean="0"/>
              <a:t>‹#›</a:t>
            </a:fld>
            <a:endParaRPr lang="en-US" dirty="0"/>
          </a:p>
        </p:txBody>
      </p:sp>
    </p:spTree>
    <p:extLst>
      <p:ext uri="{BB962C8B-B14F-4D97-AF65-F5344CB8AC3E}">
        <p14:creationId xmlns:p14="http://schemas.microsoft.com/office/powerpoint/2010/main" val="40300549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21094557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5_Slid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C2E6C94E-8216-E849-B03A-712F24271C13}"/>
              </a:ext>
            </a:extLst>
          </p:cNvPr>
          <p:cNvSpPr>
            <a:spLocks noGrp="1"/>
          </p:cNvSpPr>
          <p:nvPr>
            <p:ph type="pic" sz="quarter" idx="15"/>
          </p:nvPr>
        </p:nvSpPr>
        <p:spPr>
          <a:xfrm>
            <a:off x="0" y="0"/>
            <a:ext cx="3992102" cy="6858000"/>
          </a:xfrm>
          <a:prstGeom prst="rect">
            <a:avLst/>
          </a:prstGeom>
          <a:solidFill>
            <a:schemeClr val="bg1">
              <a:lumMod val="95000"/>
            </a:schemeClr>
          </a:solidFill>
        </p:spPr>
        <p:txBody>
          <a:bodyPr>
            <a:normAutofit/>
          </a:bodyPr>
          <a:lstStyle>
            <a:lvl1pPr>
              <a:defRPr sz="1051"/>
            </a:lvl1pPr>
          </a:lstStyle>
          <a:p>
            <a:endParaRPr lang="en-US" dirty="0"/>
          </a:p>
        </p:txBody>
      </p:sp>
    </p:spTree>
    <p:extLst>
      <p:ext uri="{BB962C8B-B14F-4D97-AF65-F5344CB8AC3E}">
        <p14:creationId xmlns:p14="http://schemas.microsoft.com/office/powerpoint/2010/main" val="1021069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983BEE-54EB-7F0A-7C90-9466C55759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20243543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C2FB7E-E9FD-AA44-8101-F627C1923673}" type="slidenum">
              <a:rPr lang="en-US" smtClean="0"/>
              <a:t>‹#›</a:t>
            </a:fld>
            <a:endParaRPr lang="en-US" dirty="0"/>
          </a:p>
        </p:txBody>
      </p:sp>
    </p:spTree>
    <p:extLst>
      <p:ext uri="{BB962C8B-B14F-4D97-AF65-F5344CB8AC3E}">
        <p14:creationId xmlns:p14="http://schemas.microsoft.com/office/powerpoint/2010/main" val="24734306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12321586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362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Tree>
    <p:extLst>
      <p:ext uri="{BB962C8B-B14F-4D97-AF65-F5344CB8AC3E}">
        <p14:creationId xmlns:p14="http://schemas.microsoft.com/office/powerpoint/2010/main" val="16587796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mall Squa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Text Placeholder 7">
            <a:extLst>
              <a:ext uri="{FF2B5EF4-FFF2-40B4-BE49-F238E27FC236}">
                <a16:creationId xmlns:a16="http://schemas.microsoft.com/office/drawing/2014/main" id="{09899F6F-FC6D-F86D-2717-17CB462D9B83}"/>
              </a:ext>
            </a:extLst>
          </p:cNvPr>
          <p:cNvSpPr>
            <a:spLocks noGrp="1"/>
          </p:cNvSpPr>
          <p:nvPr>
            <p:ph type="body" sz="quarter" idx="12"/>
          </p:nvPr>
        </p:nvSpPr>
        <p:spPr>
          <a:xfrm>
            <a:off x="915923" y="1664462"/>
            <a:ext cx="4823395" cy="400110"/>
          </a:xfrm>
          <a:prstGeom prst="rect">
            <a:avLst/>
          </a:prstGeom>
        </p:spPr>
        <p:txBody>
          <a:bodyPr wrap="square">
            <a:spAutoFit/>
          </a:bodyPr>
          <a:lstStyle>
            <a:lvl1pPr marL="0" indent="0" algn="l">
              <a:lnSpc>
                <a:spcPct val="100000"/>
              </a:lnSpc>
              <a:spcBef>
                <a:spcPts val="0"/>
              </a:spcBef>
              <a:buNone/>
              <a:defRPr sz="2000" b="1">
                <a:solidFill>
                  <a:schemeClr val="tx2"/>
                </a:solidFill>
                <a:latin typeface="+mj-lt"/>
              </a:defRPr>
            </a:lvl1pPr>
          </a:lstStyle>
          <a:p>
            <a:pPr lvl="0"/>
            <a:endParaRPr lang="en-US"/>
          </a:p>
        </p:txBody>
      </p:sp>
      <p:sp>
        <p:nvSpPr>
          <p:cNvPr id="4" name="Rectangle 3">
            <a:extLst>
              <a:ext uri="{FF2B5EF4-FFF2-40B4-BE49-F238E27FC236}">
                <a16:creationId xmlns:a16="http://schemas.microsoft.com/office/drawing/2014/main" id="{E84DD2D2-3572-7E10-7E73-152459F761BA}"/>
              </a:ext>
            </a:extLst>
          </p:cNvPr>
          <p:cNvSpPr/>
          <p:nvPr userDrawn="1"/>
        </p:nvSpPr>
        <p:spPr>
          <a:xfrm>
            <a:off x="6704077" y="1535919"/>
            <a:ext cx="4572000" cy="3931920"/>
          </a:xfrm>
          <a:prstGeom prst="rect">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821A043D-D6A7-48B0-6BA5-9094B8B17ED9}"/>
              </a:ext>
            </a:extLst>
          </p:cNvPr>
          <p:cNvSpPr>
            <a:spLocks noGrp="1"/>
          </p:cNvSpPr>
          <p:nvPr>
            <p:ph type="body" sz="quarter" idx="13"/>
          </p:nvPr>
        </p:nvSpPr>
        <p:spPr>
          <a:xfrm>
            <a:off x="7068005" y="1943322"/>
            <a:ext cx="3844144" cy="369332"/>
          </a:xfrm>
          <a:prstGeom prst="rect">
            <a:avLst/>
          </a:prstGeom>
        </p:spPr>
        <p:txBody>
          <a:bodyPr wrap="square">
            <a:spAutoFit/>
          </a:bodyPr>
          <a:lstStyle>
            <a:lvl1pPr marL="0" indent="0" algn="l">
              <a:lnSpc>
                <a:spcPct val="100000"/>
              </a:lnSpc>
              <a:spcBef>
                <a:spcPts val="0"/>
              </a:spcBef>
              <a:buNone/>
              <a:defRPr sz="1800" b="1">
                <a:solidFill>
                  <a:schemeClr val="accent3"/>
                </a:solidFill>
                <a:latin typeface="+mj-lt"/>
              </a:defRPr>
            </a:lvl1pPr>
          </a:lstStyle>
          <a:p>
            <a:pPr lvl="0"/>
            <a:endParaRPr lang="en-US"/>
          </a:p>
        </p:txBody>
      </p:sp>
    </p:spTree>
    <p:extLst>
      <p:ext uri="{BB962C8B-B14F-4D97-AF65-F5344CB8AC3E}">
        <p14:creationId xmlns:p14="http://schemas.microsoft.com/office/powerpoint/2010/main" val="14955785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2" name="Graphic 1">
            <a:extLst>
              <a:ext uri="{FF2B5EF4-FFF2-40B4-BE49-F238E27FC236}">
                <a16:creationId xmlns:a16="http://schemas.microsoft.com/office/drawing/2014/main" id="{9F41C9DD-9D7F-E574-6C8E-A0BA639B15A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7" name="Picture 6">
            <a:extLst>
              <a:ext uri="{FF2B5EF4-FFF2-40B4-BE49-F238E27FC236}">
                <a16:creationId xmlns:a16="http://schemas.microsoft.com/office/drawing/2014/main" id="{F26FB4F6-6294-F7E7-26E7-690E948FAA7C}"/>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516" y="1362748"/>
            <a:ext cx="1603251" cy="1603251"/>
          </a:xfrm>
          <a:prstGeom prst="ellipse">
            <a:avLst/>
          </a:prstGeom>
          <a:solidFill>
            <a:schemeClr val="bg1"/>
          </a:solidFill>
        </p:spPr>
      </p:pic>
      <p:pic>
        <p:nvPicPr>
          <p:cNvPr id="8" name="Picture 7">
            <a:extLst>
              <a:ext uri="{FF2B5EF4-FFF2-40B4-BE49-F238E27FC236}">
                <a16:creationId xmlns:a16="http://schemas.microsoft.com/office/drawing/2014/main" id="{B39D4477-9A64-9161-C46A-75A2B8569E5A}"/>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375" y="1362748"/>
            <a:ext cx="1603251" cy="1603251"/>
          </a:xfrm>
          <a:prstGeom prst="ellipse">
            <a:avLst/>
          </a:prstGeom>
          <a:solidFill>
            <a:schemeClr val="bg1"/>
          </a:solidFill>
        </p:spPr>
      </p:pic>
      <p:pic>
        <p:nvPicPr>
          <p:cNvPr id="9" name="Picture 8">
            <a:extLst>
              <a:ext uri="{FF2B5EF4-FFF2-40B4-BE49-F238E27FC236}">
                <a16:creationId xmlns:a16="http://schemas.microsoft.com/office/drawing/2014/main" id="{072DE7EC-4168-3E8D-B474-3A0F449356C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233" y="1362748"/>
            <a:ext cx="1603251" cy="1603251"/>
          </a:xfrm>
          <a:prstGeom prst="ellipse">
            <a:avLst/>
          </a:prstGeom>
          <a:solidFill>
            <a:schemeClr val="bg1"/>
          </a:solidFill>
        </p:spPr>
      </p:pic>
    </p:spTree>
    <p:extLst>
      <p:ext uri="{BB962C8B-B14F-4D97-AF65-F5344CB8AC3E}">
        <p14:creationId xmlns:p14="http://schemas.microsoft.com/office/powerpoint/2010/main" val="36122519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ocks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605153"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3898011"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6190869"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8483727"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1775079"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1775079"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2209038"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1775079"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4067937"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4067937"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4501896"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4067937"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6360795"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6360795"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6794754"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6360795"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3" name="Text Placeholder 7">
            <a:extLst>
              <a:ext uri="{FF2B5EF4-FFF2-40B4-BE49-F238E27FC236}">
                <a16:creationId xmlns:a16="http://schemas.microsoft.com/office/drawing/2014/main" id="{B7499EA4-34A0-FAE6-F83A-F5628BB79FCF}"/>
              </a:ext>
            </a:extLst>
          </p:cNvPr>
          <p:cNvSpPr>
            <a:spLocks noGrp="1"/>
          </p:cNvSpPr>
          <p:nvPr userDrawn="1">
            <p:ph type="body" sz="quarter" idx="23"/>
          </p:nvPr>
        </p:nvSpPr>
        <p:spPr>
          <a:xfrm>
            <a:off x="8653653"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userDrawn="1">
            <p:ph type="body" sz="quarter" idx="24"/>
          </p:nvPr>
        </p:nvSpPr>
        <p:spPr>
          <a:xfrm>
            <a:off x="8653653"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9087612"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userDrawn="1">
            <p:ph type="body" sz="quarter" idx="25"/>
          </p:nvPr>
        </p:nvSpPr>
        <p:spPr>
          <a:xfrm>
            <a:off x="8653653"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EDF55984-000E-8984-E1FD-1C5F229ACDC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B3373AFF-A781-8A01-575C-AA3F3F31FF1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1855088" y="1362748"/>
            <a:ext cx="1603251" cy="1603251"/>
          </a:xfrm>
          <a:prstGeom prst="ellipse">
            <a:avLst/>
          </a:prstGeom>
        </p:spPr>
      </p:pic>
      <p:pic>
        <p:nvPicPr>
          <p:cNvPr id="27" name="Picture 26">
            <a:extLst>
              <a:ext uri="{FF2B5EF4-FFF2-40B4-BE49-F238E27FC236}">
                <a16:creationId xmlns:a16="http://schemas.microsoft.com/office/drawing/2014/main" id="{3A4DF074-FCEF-F240-42DF-1B023B9B8DE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4147946" y="1362748"/>
            <a:ext cx="1603251" cy="1603251"/>
          </a:xfrm>
          <a:prstGeom prst="ellipse">
            <a:avLst/>
          </a:prstGeom>
        </p:spPr>
      </p:pic>
      <p:pic>
        <p:nvPicPr>
          <p:cNvPr id="28" name="Picture 27">
            <a:extLst>
              <a:ext uri="{FF2B5EF4-FFF2-40B4-BE49-F238E27FC236}">
                <a16:creationId xmlns:a16="http://schemas.microsoft.com/office/drawing/2014/main" id="{D3474343-027B-3D92-5A9E-AADDE88E43E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6440804" y="1362748"/>
            <a:ext cx="1603251" cy="1603251"/>
          </a:xfrm>
          <a:prstGeom prst="ellipse">
            <a:avLst/>
          </a:prstGeom>
        </p:spPr>
      </p:pic>
      <p:pic>
        <p:nvPicPr>
          <p:cNvPr id="29" name="Picture 28">
            <a:extLst>
              <a:ext uri="{FF2B5EF4-FFF2-40B4-BE49-F238E27FC236}">
                <a16:creationId xmlns:a16="http://schemas.microsoft.com/office/drawing/2014/main" id="{D21815F1-34B3-32A3-C086-D2969E96F33D}"/>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8733662" y="1362748"/>
            <a:ext cx="1603251" cy="1603251"/>
          </a:xfrm>
          <a:prstGeom prst="ellipse">
            <a:avLst/>
          </a:prstGeom>
        </p:spPr>
      </p:pic>
    </p:spTree>
    <p:extLst>
      <p:ext uri="{BB962C8B-B14F-4D97-AF65-F5344CB8AC3E}">
        <p14:creationId xmlns:p14="http://schemas.microsoft.com/office/powerpoint/2010/main" val="615886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ocks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4FF8598-4A73-B87D-8511-B9C051904D29}"/>
              </a:ext>
            </a:extLst>
          </p:cNvPr>
          <p:cNvSpPr/>
          <p:nvPr userDrawn="1"/>
        </p:nvSpPr>
        <p:spPr>
          <a:xfrm>
            <a:off x="458724"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7">
            <a:extLst>
              <a:ext uri="{FF2B5EF4-FFF2-40B4-BE49-F238E27FC236}">
                <a16:creationId xmlns:a16="http://schemas.microsoft.com/office/drawing/2014/main" id="{FA99FF79-9C91-E84F-5BB3-068997744F8C}"/>
              </a:ext>
            </a:extLst>
          </p:cNvPr>
          <p:cNvSpPr>
            <a:spLocks noGrp="1"/>
          </p:cNvSpPr>
          <p:nvPr>
            <p:ph type="body" sz="quarter" idx="14"/>
          </p:nvPr>
        </p:nvSpPr>
        <p:spPr>
          <a:xfrm>
            <a:off x="628650"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8" name="Text Placeholder 7">
            <a:extLst>
              <a:ext uri="{FF2B5EF4-FFF2-40B4-BE49-F238E27FC236}">
                <a16:creationId xmlns:a16="http://schemas.microsoft.com/office/drawing/2014/main" id="{6F98E97C-B646-7603-048E-5A254B7D2EB5}"/>
              </a:ext>
            </a:extLst>
          </p:cNvPr>
          <p:cNvSpPr>
            <a:spLocks noGrp="1"/>
          </p:cNvSpPr>
          <p:nvPr>
            <p:ph type="body" sz="quarter" idx="15"/>
          </p:nvPr>
        </p:nvSpPr>
        <p:spPr>
          <a:xfrm>
            <a:off x="628650"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ED0EEA23-DF26-8F17-2B1D-D6473D41730C}"/>
              </a:ext>
            </a:extLst>
          </p:cNvPr>
          <p:cNvCxnSpPr>
            <a:cxnSpLocks/>
          </p:cNvCxnSpPr>
          <p:nvPr userDrawn="1"/>
        </p:nvCxnSpPr>
        <p:spPr>
          <a:xfrm>
            <a:off x="1062609"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1" name="Text Placeholder 7">
            <a:extLst>
              <a:ext uri="{FF2B5EF4-FFF2-40B4-BE49-F238E27FC236}">
                <a16:creationId xmlns:a16="http://schemas.microsoft.com/office/drawing/2014/main" id="{80E6ACBD-9DB9-A67B-27A2-C6A2395907C1}"/>
              </a:ext>
            </a:extLst>
          </p:cNvPr>
          <p:cNvSpPr>
            <a:spLocks noGrp="1"/>
          </p:cNvSpPr>
          <p:nvPr>
            <p:ph type="body" sz="quarter" idx="16"/>
          </p:nvPr>
        </p:nvSpPr>
        <p:spPr>
          <a:xfrm>
            <a:off x="628650"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2" name="Rectangle 11">
            <a:extLst>
              <a:ext uri="{FF2B5EF4-FFF2-40B4-BE49-F238E27FC236}">
                <a16:creationId xmlns:a16="http://schemas.microsoft.com/office/drawing/2014/main" id="{3E403369-8EA1-1C29-96B9-C5568BAB54A1}"/>
              </a:ext>
            </a:extLst>
          </p:cNvPr>
          <p:cNvSpPr/>
          <p:nvPr userDrawn="1"/>
        </p:nvSpPr>
        <p:spPr>
          <a:xfrm>
            <a:off x="2751582"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7">
            <a:extLst>
              <a:ext uri="{FF2B5EF4-FFF2-40B4-BE49-F238E27FC236}">
                <a16:creationId xmlns:a16="http://schemas.microsoft.com/office/drawing/2014/main" id="{2DFAE874-D688-F9D8-79DB-90EC36EEFD7F}"/>
              </a:ext>
            </a:extLst>
          </p:cNvPr>
          <p:cNvSpPr>
            <a:spLocks noGrp="1"/>
          </p:cNvSpPr>
          <p:nvPr>
            <p:ph type="body" sz="quarter" idx="17"/>
          </p:nvPr>
        </p:nvSpPr>
        <p:spPr>
          <a:xfrm>
            <a:off x="2921508"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3D27185B-B5DC-448F-D328-1F7BCE562556}"/>
              </a:ext>
            </a:extLst>
          </p:cNvPr>
          <p:cNvSpPr>
            <a:spLocks noGrp="1"/>
          </p:cNvSpPr>
          <p:nvPr>
            <p:ph type="body" sz="quarter" idx="18"/>
          </p:nvPr>
        </p:nvSpPr>
        <p:spPr>
          <a:xfrm>
            <a:off x="2921508"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15" name="Straight Connector 14">
            <a:extLst>
              <a:ext uri="{FF2B5EF4-FFF2-40B4-BE49-F238E27FC236}">
                <a16:creationId xmlns:a16="http://schemas.microsoft.com/office/drawing/2014/main" id="{64B03DEC-CC3F-6DFF-0281-20FCE8D3F408}"/>
              </a:ext>
            </a:extLst>
          </p:cNvPr>
          <p:cNvCxnSpPr>
            <a:cxnSpLocks/>
          </p:cNvCxnSpPr>
          <p:nvPr userDrawn="1"/>
        </p:nvCxnSpPr>
        <p:spPr>
          <a:xfrm>
            <a:off x="3355467"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F2F26AAA-CBF4-13B5-4D17-F986EE451E91}"/>
              </a:ext>
            </a:extLst>
          </p:cNvPr>
          <p:cNvSpPr>
            <a:spLocks noGrp="1"/>
          </p:cNvSpPr>
          <p:nvPr>
            <p:ph type="body" sz="quarter" idx="19"/>
          </p:nvPr>
        </p:nvSpPr>
        <p:spPr>
          <a:xfrm>
            <a:off x="2921508"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17" name="Rectangle 16">
            <a:extLst>
              <a:ext uri="{FF2B5EF4-FFF2-40B4-BE49-F238E27FC236}">
                <a16:creationId xmlns:a16="http://schemas.microsoft.com/office/drawing/2014/main" id="{5FA96D1E-228D-5F42-8BE2-1A6B85124143}"/>
              </a:ext>
            </a:extLst>
          </p:cNvPr>
          <p:cNvSpPr/>
          <p:nvPr userDrawn="1"/>
        </p:nvSpPr>
        <p:spPr>
          <a:xfrm>
            <a:off x="5044440"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7">
            <a:extLst>
              <a:ext uri="{FF2B5EF4-FFF2-40B4-BE49-F238E27FC236}">
                <a16:creationId xmlns:a16="http://schemas.microsoft.com/office/drawing/2014/main" id="{51B251EF-8E8A-3067-DE40-535FD0225FDC}"/>
              </a:ext>
            </a:extLst>
          </p:cNvPr>
          <p:cNvSpPr>
            <a:spLocks noGrp="1"/>
          </p:cNvSpPr>
          <p:nvPr>
            <p:ph type="body" sz="quarter" idx="20"/>
          </p:nvPr>
        </p:nvSpPr>
        <p:spPr>
          <a:xfrm>
            <a:off x="5214366"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DA50DF1D-3078-A497-F104-7A901AD05CEA}"/>
              </a:ext>
            </a:extLst>
          </p:cNvPr>
          <p:cNvSpPr>
            <a:spLocks noGrp="1"/>
          </p:cNvSpPr>
          <p:nvPr>
            <p:ph type="body" sz="quarter" idx="21"/>
          </p:nvPr>
        </p:nvSpPr>
        <p:spPr>
          <a:xfrm>
            <a:off x="5214366"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0" name="Straight Connector 19">
            <a:extLst>
              <a:ext uri="{FF2B5EF4-FFF2-40B4-BE49-F238E27FC236}">
                <a16:creationId xmlns:a16="http://schemas.microsoft.com/office/drawing/2014/main" id="{2178BCA8-8927-3000-784C-8000D82D70A4}"/>
              </a:ext>
            </a:extLst>
          </p:cNvPr>
          <p:cNvCxnSpPr>
            <a:cxnSpLocks/>
          </p:cNvCxnSpPr>
          <p:nvPr userDrawn="1"/>
        </p:nvCxnSpPr>
        <p:spPr>
          <a:xfrm>
            <a:off x="5648325"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2D7C651-A8C6-EDB4-5223-4603F1E60703}"/>
              </a:ext>
            </a:extLst>
          </p:cNvPr>
          <p:cNvSpPr>
            <a:spLocks noGrp="1"/>
          </p:cNvSpPr>
          <p:nvPr>
            <p:ph type="body" sz="quarter" idx="22"/>
          </p:nvPr>
        </p:nvSpPr>
        <p:spPr>
          <a:xfrm>
            <a:off x="5214366"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2" name="Rectangle 21">
            <a:extLst>
              <a:ext uri="{FF2B5EF4-FFF2-40B4-BE49-F238E27FC236}">
                <a16:creationId xmlns:a16="http://schemas.microsoft.com/office/drawing/2014/main" id="{C7944B1A-5BDB-C3E6-08D5-D07FB27FF433}"/>
              </a:ext>
            </a:extLst>
          </p:cNvPr>
          <p:cNvSpPr/>
          <p:nvPr userDrawn="1"/>
        </p:nvSpPr>
        <p:spPr>
          <a:xfrm>
            <a:off x="7337298"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7">
            <a:extLst>
              <a:ext uri="{FF2B5EF4-FFF2-40B4-BE49-F238E27FC236}">
                <a16:creationId xmlns:a16="http://schemas.microsoft.com/office/drawing/2014/main" id="{B7499EA4-34A0-FAE6-F83A-F5628BB79FCF}"/>
              </a:ext>
            </a:extLst>
          </p:cNvPr>
          <p:cNvSpPr>
            <a:spLocks noGrp="1"/>
          </p:cNvSpPr>
          <p:nvPr>
            <p:ph type="body" sz="quarter" idx="23"/>
          </p:nvPr>
        </p:nvSpPr>
        <p:spPr>
          <a:xfrm>
            <a:off x="7507224"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4" name="Text Placeholder 7">
            <a:extLst>
              <a:ext uri="{FF2B5EF4-FFF2-40B4-BE49-F238E27FC236}">
                <a16:creationId xmlns:a16="http://schemas.microsoft.com/office/drawing/2014/main" id="{E7634ACE-6A6D-1414-EA57-36AC21BE870B}"/>
              </a:ext>
            </a:extLst>
          </p:cNvPr>
          <p:cNvSpPr>
            <a:spLocks noGrp="1"/>
          </p:cNvSpPr>
          <p:nvPr>
            <p:ph type="body" sz="quarter" idx="24"/>
          </p:nvPr>
        </p:nvSpPr>
        <p:spPr>
          <a:xfrm>
            <a:off x="7507224"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DC9AAD2A-5807-D3D8-F464-D29AA221210C}"/>
              </a:ext>
            </a:extLst>
          </p:cNvPr>
          <p:cNvCxnSpPr>
            <a:cxnSpLocks/>
          </p:cNvCxnSpPr>
          <p:nvPr userDrawn="1"/>
        </p:nvCxnSpPr>
        <p:spPr>
          <a:xfrm>
            <a:off x="7941183"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216856D8-7C1C-0723-327F-E085EF9F5C4E}"/>
              </a:ext>
            </a:extLst>
          </p:cNvPr>
          <p:cNvSpPr>
            <a:spLocks noGrp="1"/>
          </p:cNvSpPr>
          <p:nvPr>
            <p:ph type="body" sz="quarter" idx="25"/>
          </p:nvPr>
        </p:nvSpPr>
        <p:spPr>
          <a:xfrm>
            <a:off x="7507224"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sp>
        <p:nvSpPr>
          <p:cNvPr id="27" name="Rectangle 26">
            <a:extLst>
              <a:ext uri="{FF2B5EF4-FFF2-40B4-BE49-F238E27FC236}">
                <a16:creationId xmlns:a16="http://schemas.microsoft.com/office/drawing/2014/main" id="{977941D7-FAF9-9C99-785A-8911EB7273AB}"/>
              </a:ext>
            </a:extLst>
          </p:cNvPr>
          <p:cNvSpPr/>
          <p:nvPr userDrawn="1"/>
        </p:nvSpPr>
        <p:spPr>
          <a:xfrm>
            <a:off x="9630156" y="2238377"/>
            <a:ext cx="2103120" cy="36290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 Placeholder 7">
            <a:extLst>
              <a:ext uri="{FF2B5EF4-FFF2-40B4-BE49-F238E27FC236}">
                <a16:creationId xmlns:a16="http://schemas.microsoft.com/office/drawing/2014/main" id="{D756774C-9FE3-86FA-4336-3A2E21C342CF}"/>
              </a:ext>
            </a:extLst>
          </p:cNvPr>
          <p:cNvSpPr>
            <a:spLocks noGrp="1"/>
          </p:cNvSpPr>
          <p:nvPr>
            <p:ph type="body" sz="quarter" idx="26"/>
          </p:nvPr>
        </p:nvSpPr>
        <p:spPr>
          <a:xfrm>
            <a:off x="9800082" y="3327408"/>
            <a:ext cx="1763268"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29" name="Text Placeholder 7">
            <a:extLst>
              <a:ext uri="{FF2B5EF4-FFF2-40B4-BE49-F238E27FC236}">
                <a16:creationId xmlns:a16="http://schemas.microsoft.com/office/drawing/2014/main" id="{6FCADC7F-CEFE-5CB6-7E51-A9CC172B980A}"/>
              </a:ext>
            </a:extLst>
          </p:cNvPr>
          <p:cNvSpPr>
            <a:spLocks noGrp="1"/>
          </p:cNvSpPr>
          <p:nvPr>
            <p:ph type="body" sz="quarter" idx="27"/>
          </p:nvPr>
        </p:nvSpPr>
        <p:spPr>
          <a:xfrm>
            <a:off x="9800082" y="3806275"/>
            <a:ext cx="1763268" cy="268792"/>
          </a:xfrm>
          <a:prstGeom prst="rect">
            <a:avLst/>
          </a:prstGeom>
        </p:spPr>
        <p:txBody>
          <a:bodyPr wrap="square" anchor="ctr" anchorCtr="0">
            <a:spAutoFit/>
          </a:bodyPr>
          <a:lstStyle>
            <a:lvl1pPr marL="0" indent="0" algn="ctr">
              <a:lnSpc>
                <a:spcPct val="110000"/>
              </a:lnSpc>
              <a:spcBef>
                <a:spcPts val="0"/>
              </a:spcBef>
              <a:buNone/>
              <a:defRPr sz="1100" b="0">
                <a:solidFill>
                  <a:schemeClr val="tx1"/>
                </a:solidFill>
                <a:latin typeface="+mn-lt"/>
              </a:defRPr>
            </a:lvl1pPr>
          </a:lstStyle>
          <a:p>
            <a:pPr lvl="0"/>
            <a:endParaRPr lang="en-US"/>
          </a:p>
        </p:txBody>
      </p:sp>
      <p:cxnSp>
        <p:nvCxnSpPr>
          <p:cNvPr id="30" name="Straight Connector 29">
            <a:extLst>
              <a:ext uri="{FF2B5EF4-FFF2-40B4-BE49-F238E27FC236}">
                <a16:creationId xmlns:a16="http://schemas.microsoft.com/office/drawing/2014/main" id="{6F5E91DF-0A96-22A0-371D-640B57E7D242}"/>
              </a:ext>
            </a:extLst>
          </p:cNvPr>
          <p:cNvCxnSpPr>
            <a:cxnSpLocks/>
          </p:cNvCxnSpPr>
          <p:nvPr userDrawn="1"/>
        </p:nvCxnSpPr>
        <p:spPr>
          <a:xfrm>
            <a:off x="10234041" y="4263879"/>
            <a:ext cx="895350" cy="0"/>
          </a:xfrm>
          <a:prstGeom prst="line">
            <a:avLst/>
          </a:prstGeom>
          <a:ln w="12700" cap="rnd">
            <a:round/>
          </a:ln>
        </p:spPr>
        <p:style>
          <a:lnRef idx="1">
            <a:schemeClr val="accent1"/>
          </a:lnRef>
          <a:fillRef idx="0">
            <a:schemeClr val="accent1"/>
          </a:fillRef>
          <a:effectRef idx="0">
            <a:schemeClr val="accent1"/>
          </a:effectRef>
          <a:fontRef idx="minor">
            <a:schemeClr val="tx1"/>
          </a:fontRef>
        </p:style>
      </p:cxnSp>
      <p:sp>
        <p:nvSpPr>
          <p:cNvPr id="31" name="Text Placeholder 7">
            <a:extLst>
              <a:ext uri="{FF2B5EF4-FFF2-40B4-BE49-F238E27FC236}">
                <a16:creationId xmlns:a16="http://schemas.microsoft.com/office/drawing/2014/main" id="{255C6C76-F58C-2042-9EB7-AB5EA9D88452}"/>
              </a:ext>
            </a:extLst>
          </p:cNvPr>
          <p:cNvSpPr>
            <a:spLocks noGrp="1"/>
          </p:cNvSpPr>
          <p:nvPr>
            <p:ph type="body" sz="quarter" idx="28"/>
          </p:nvPr>
        </p:nvSpPr>
        <p:spPr>
          <a:xfrm>
            <a:off x="9800082" y="4460122"/>
            <a:ext cx="1763268" cy="236668"/>
          </a:xfrm>
          <a:prstGeom prst="rect">
            <a:avLst/>
          </a:prstGeom>
        </p:spPr>
        <p:txBody>
          <a:bodyPr wrap="square" anchor="t" anchorCtr="0">
            <a:spAutoFit/>
          </a:bodyPr>
          <a:lstStyle>
            <a:lvl1pPr marL="0" indent="0" algn="ctr">
              <a:lnSpc>
                <a:spcPct val="110000"/>
              </a:lnSpc>
              <a:spcBef>
                <a:spcPts val="0"/>
              </a:spcBef>
              <a:buNone/>
              <a:defRPr sz="900" b="0">
                <a:solidFill>
                  <a:schemeClr val="tx1"/>
                </a:solidFill>
                <a:latin typeface="+mn-lt"/>
              </a:defRPr>
            </a:lvl1pPr>
          </a:lstStyle>
          <a:p>
            <a:pPr lvl="0"/>
            <a:endParaRPr lang="en-US"/>
          </a:p>
        </p:txBody>
      </p:sp>
      <p:pic>
        <p:nvPicPr>
          <p:cNvPr id="4" name="Graphic 3">
            <a:extLst>
              <a:ext uri="{FF2B5EF4-FFF2-40B4-BE49-F238E27FC236}">
                <a16:creationId xmlns:a16="http://schemas.microsoft.com/office/drawing/2014/main" id="{77889A56-40F9-9680-1D99-7DF2DB33FB0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2525" y="433387"/>
            <a:ext cx="228600" cy="228600"/>
          </a:xfrm>
          <a:prstGeom prst="rect">
            <a:avLst/>
          </a:prstGeom>
        </p:spPr>
      </p:pic>
      <p:pic>
        <p:nvPicPr>
          <p:cNvPr id="9" name="Picture 8">
            <a:extLst>
              <a:ext uri="{FF2B5EF4-FFF2-40B4-BE49-F238E27FC236}">
                <a16:creationId xmlns:a16="http://schemas.microsoft.com/office/drawing/2014/main" id="{CF284CA0-2051-3E59-72F6-A02AB0150BAF}"/>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08911" y="1362748"/>
            <a:ext cx="1603251" cy="1603251"/>
          </a:xfrm>
          <a:prstGeom prst="ellipse">
            <a:avLst/>
          </a:prstGeom>
        </p:spPr>
      </p:pic>
      <p:pic>
        <p:nvPicPr>
          <p:cNvPr id="32" name="Picture 31">
            <a:extLst>
              <a:ext uri="{FF2B5EF4-FFF2-40B4-BE49-F238E27FC236}">
                <a16:creationId xmlns:a16="http://schemas.microsoft.com/office/drawing/2014/main" id="{35C8F448-6E63-9C48-3AA8-2B319845CF4E}"/>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3001769" y="1362748"/>
            <a:ext cx="1603251" cy="1603251"/>
          </a:xfrm>
          <a:prstGeom prst="ellipse">
            <a:avLst/>
          </a:prstGeom>
        </p:spPr>
      </p:pic>
      <p:pic>
        <p:nvPicPr>
          <p:cNvPr id="33" name="Picture 32">
            <a:extLst>
              <a:ext uri="{FF2B5EF4-FFF2-40B4-BE49-F238E27FC236}">
                <a16:creationId xmlns:a16="http://schemas.microsoft.com/office/drawing/2014/main" id="{6AF66E33-63A5-D749-D4A1-88E6939DF74B}"/>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5294627" y="1362748"/>
            <a:ext cx="1603251" cy="1603251"/>
          </a:xfrm>
          <a:prstGeom prst="ellipse">
            <a:avLst/>
          </a:prstGeom>
        </p:spPr>
      </p:pic>
      <p:pic>
        <p:nvPicPr>
          <p:cNvPr id="34" name="Picture 33">
            <a:extLst>
              <a:ext uri="{FF2B5EF4-FFF2-40B4-BE49-F238E27FC236}">
                <a16:creationId xmlns:a16="http://schemas.microsoft.com/office/drawing/2014/main" id="{E33BE5BA-90D0-3478-0B62-E0B6A61C4B39}"/>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7587485" y="1362748"/>
            <a:ext cx="1603251" cy="1603251"/>
          </a:xfrm>
          <a:prstGeom prst="ellipse">
            <a:avLst/>
          </a:prstGeom>
        </p:spPr>
      </p:pic>
      <p:pic>
        <p:nvPicPr>
          <p:cNvPr id="35" name="Picture 34">
            <a:extLst>
              <a:ext uri="{FF2B5EF4-FFF2-40B4-BE49-F238E27FC236}">
                <a16:creationId xmlns:a16="http://schemas.microsoft.com/office/drawing/2014/main" id="{1B9E5CB7-5308-6105-B7DA-33451F1DD7D3}"/>
              </a:ext>
            </a:extLst>
          </p:cNvPr>
          <p:cNvPicPr>
            <a:picLocks noChangeAspect="1"/>
          </p:cNvPicPr>
          <p:nvPr userDrawn="1"/>
        </p:nvPicPr>
        <p:blipFill>
          <a:blip r:embed="rId4" cstate="email">
            <a:biLevel thresh="50000"/>
            <a:extLst>
              <a:ext uri="{28A0092B-C50C-407E-A947-70E740481C1C}">
                <a14:useLocalDpi xmlns:a14="http://schemas.microsoft.com/office/drawing/2010/main"/>
              </a:ext>
            </a:extLst>
          </a:blip>
          <a:srcRect/>
          <a:stretch/>
        </p:blipFill>
        <p:spPr>
          <a:xfrm>
            <a:off x="9879838" y="1362748"/>
            <a:ext cx="1603251" cy="1603251"/>
          </a:xfrm>
          <a:prstGeom prst="ellipse">
            <a:avLst/>
          </a:prstGeom>
        </p:spPr>
      </p:pic>
    </p:spTree>
    <p:extLst>
      <p:ext uri="{BB962C8B-B14F-4D97-AF65-F5344CB8AC3E}">
        <p14:creationId xmlns:p14="http://schemas.microsoft.com/office/powerpoint/2010/main" val="33870162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ircl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24488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7842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23574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506563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901159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8346980" y="3746888"/>
            <a:ext cx="206074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892015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5003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ircl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84415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1291412"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75271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443379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881054"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434235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702343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6470696"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693199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9613081"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9060339" y="3746888"/>
            <a:ext cx="1837004"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9521641"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195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131CEA-F61B-C077-C051-C30667FA67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D65D68E-3BB6-A05D-232C-09E33776391C}"/>
              </a:ext>
            </a:extLst>
          </p:cNvPr>
          <p:cNvSpPr/>
          <p:nvPr userDrawn="1"/>
        </p:nvSpPr>
        <p:spPr>
          <a:xfrm>
            <a:off x="457200" y="457200"/>
            <a:ext cx="6858000" cy="5943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5C4B261-A715-20A8-618B-81D97292A8D1}"/>
              </a:ext>
            </a:extLst>
          </p:cNvPr>
          <p:cNvSpPr>
            <a:spLocks noGrp="1"/>
          </p:cNvSpPr>
          <p:nvPr>
            <p:ph type="title" hasCustomPrompt="1"/>
          </p:nvPr>
        </p:nvSpPr>
        <p:spPr>
          <a:xfrm>
            <a:off x="1371600" y="1371600"/>
            <a:ext cx="5029200" cy="2554545"/>
          </a:xfrm>
          <a:prstGeom prst="rect">
            <a:avLst/>
          </a:prstGeom>
        </p:spPr>
        <p:txBody>
          <a:bodyPr wrap="square">
            <a:spAutoFit/>
          </a:bodyPr>
          <a:lstStyle>
            <a:lvl1pPr>
              <a:lnSpc>
                <a:spcPct val="100000"/>
              </a:lnSpc>
              <a:defRPr sz="8000" b="1">
                <a:solidFill>
                  <a:schemeClr val="bg1"/>
                </a:solidFill>
                <a:latin typeface="+mj-lt"/>
              </a:defRPr>
            </a:lvl1pPr>
          </a:lstStyle>
          <a:p>
            <a:r>
              <a:rPr lang="en-US"/>
              <a:t>Click to edit title</a:t>
            </a:r>
          </a:p>
        </p:txBody>
      </p:sp>
    </p:spTree>
    <p:extLst>
      <p:ext uri="{BB962C8B-B14F-4D97-AF65-F5344CB8AC3E}">
        <p14:creationId xmlns:p14="http://schemas.microsoft.com/office/powerpoint/2010/main" val="5645913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ircl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1373124"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1</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915924"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4" name="Straight Connector 3">
            <a:extLst>
              <a:ext uri="{FF2B5EF4-FFF2-40B4-BE49-F238E27FC236}">
                <a16:creationId xmlns:a16="http://schemas.microsoft.com/office/drawing/2014/main" id="{00812C3F-CADF-C02D-50B3-4967C729B465}"/>
              </a:ext>
            </a:extLst>
          </p:cNvPr>
          <p:cNvCxnSpPr>
            <a:cxnSpLocks/>
          </p:cNvCxnSpPr>
          <p:nvPr userDrawn="1"/>
        </p:nvCxnSpPr>
        <p:spPr>
          <a:xfrm>
            <a:off x="1281684"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4CE7044-E0FE-AE6E-30DE-6D5F93494553}"/>
              </a:ext>
            </a:extLst>
          </p:cNvPr>
          <p:cNvSpPr>
            <a:spLocks noChangeAspect="1"/>
          </p:cNvSpPr>
          <p:nvPr userDrawn="1"/>
        </p:nvSpPr>
        <p:spPr>
          <a:xfrm>
            <a:off x="3551682"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2</a:t>
            </a:r>
          </a:p>
        </p:txBody>
      </p:sp>
      <p:sp>
        <p:nvSpPr>
          <p:cNvPr id="8" name="Text Placeholder 7">
            <a:extLst>
              <a:ext uri="{FF2B5EF4-FFF2-40B4-BE49-F238E27FC236}">
                <a16:creationId xmlns:a16="http://schemas.microsoft.com/office/drawing/2014/main" id="{6F0E1DA7-8093-F70B-62DB-711E3F212845}"/>
              </a:ext>
            </a:extLst>
          </p:cNvPr>
          <p:cNvSpPr>
            <a:spLocks noGrp="1"/>
          </p:cNvSpPr>
          <p:nvPr>
            <p:ph type="body" sz="quarter" idx="18"/>
          </p:nvPr>
        </p:nvSpPr>
        <p:spPr>
          <a:xfrm>
            <a:off x="3094482"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0" name="Straight Connector 9">
            <a:extLst>
              <a:ext uri="{FF2B5EF4-FFF2-40B4-BE49-F238E27FC236}">
                <a16:creationId xmlns:a16="http://schemas.microsoft.com/office/drawing/2014/main" id="{9F17ED76-9F60-C323-44D1-5686636699DB}"/>
              </a:ext>
            </a:extLst>
          </p:cNvPr>
          <p:cNvCxnSpPr>
            <a:cxnSpLocks/>
          </p:cNvCxnSpPr>
          <p:nvPr userDrawn="1"/>
        </p:nvCxnSpPr>
        <p:spPr>
          <a:xfrm>
            <a:off x="3460242"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105B02F-752C-2F9A-E780-C29EA2EC4962}"/>
              </a:ext>
            </a:extLst>
          </p:cNvPr>
          <p:cNvSpPr>
            <a:spLocks noChangeAspect="1"/>
          </p:cNvSpPr>
          <p:nvPr userDrawn="1"/>
        </p:nvSpPr>
        <p:spPr>
          <a:xfrm>
            <a:off x="5730240"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3</a:t>
            </a:r>
          </a:p>
        </p:txBody>
      </p:sp>
      <p:sp>
        <p:nvSpPr>
          <p:cNvPr id="15" name="Text Placeholder 7">
            <a:extLst>
              <a:ext uri="{FF2B5EF4-FFF2-40B4-BE49-F238E27FC236}">
                <a16:creationId xmlns:a16="http://schemas.microsoft.com/office/drawing/2014/main" id="{1F22CC3D-E3DC-803E-6501-A5CFB87E5D6D}"/>
              </a:ext>
            </a:extLst>
          </p:cNvPr>
          <p:cNvSpPr>
            <a:spLocks noGrp="1"/>
          </p:cNvSpPr>
          <p:nvPr>
            <p:ph type="body" sz="quarter" idx="19"/>
          </p:nvPr>
        </p:nvSpPr>
        <p:spPr>
          <a:xfrm>
            <a:off x="5273040"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17" name="Straight Connector 16">
            <a:extLst>
              <a:ext uri="{FF2B5EF4-FFF2-40B4-BE49-F238E27FC236}">
                <a16:creationId xmlns:a16="http://schemas.microsoft.com/office/drawing/2014/main" id="{63EA254B-DFE1-E8F6-1E45-C3FAA3BBEE94}"/>
              </a:ext>
            </a:extLst>
          </p:cNvPr>
          <p:cNvCxnSpPr>
            <a:cxnSpLocks/>
          </p:cNvCxnSpPr>
          <p:nvPr userDrawn="1"/>
        </p:nvCxnSpPr>
        <p:spPr>
          <a:xfrm>
            <a:off x="5638800"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B906963-794E-C105-825B-4E7A053C4CFE}"/>
              </a:ext>
            </a:extLst>
          </p:cNvPr>
          <p:cNvSpPr>
            <a:spLocks noChangeAspect="1"/>
          </p:cNvSpPr>
          <p:nvPr userDrawn="1"/>
        </p:nvSpPr>
        <p:spPr>
          <a:xfrm>
            <a:off x="7908798"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4</a:t>
            </a:r>
          </a:p>
        </p:txBody>
      </p:sp>
      <p:sp>
        <p:nvSpPr>
          <p:cNvPr id="22" name="Text Placeholder 7">
            <a:extLst>
              <a:ext uri="{FF2B5EF4-FFF2-40B4-BE49-F238E27FC236}">
                <a16:creationId xmlns:a16="http://schemas.microsoft.com/office/drawing/2014/main" id="{15F26CA0-B300-07D9-20F9-F3B4F542C748}"/>
              </a:ext>
            </a:extLst>
          </p:cNvPr>
          <p:cNvSpPr>
            <a:spLocks noGrp="1"/>
          </p:cNvSpPr>
          <p:nvPr>
            <p:ph type="body" sz="quarter" idx="20"/>
          </p:nvPr>
        </p:nvSpPr>
        <p:spPr>
          <a:xfrm>
            <a:off x="7451598"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25" name="Straight Connector 24">
            <a:extLst>
              <a:ext uri="{FF2B5EF4-FFF2-40B4-BE49-F238E27FC236}">
                <a16:creationId xmlns:a16="http://schemas.microsoft.com/office/drawing/2014/main" id="{F7E70C5D-1CFA-C700-953E-A5A4DE63A56A}"/>
              </a:ext>
            </a:extLst>
          </p:cNvPr>
          <p:cNvCxnSpPr>
            <a:cxnSpLocks/>
          </p:cNvCxnSpPr>
          <p:nvPr userDrawn="1"/>
        </p:nvCxnSpPr>
        <p:spPr>
          <a:xfrm>
            <a:off x="7817358"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9666012-D5CA-6C32-71FB-2964CBE18EA3}"/>
              </a:ext>
            </a:extLst>
          </p:cNvPr>
          <p:cNvSpPr>
            <a:spLocks noChangeAspect="1"/>
          </p:cNvSpPr>
          <p:nvPr userDrawn="1"/>
        </p:nvSpPr>
        <p:spPr>
          <a:xfrm>
            <a:off x="10087356" y="2553065"/>
            <a:ext cx="731520" cy="7315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mj-lt"/>
              </a:rPr>
              <a:t>5</a:t>
            </a:r>
          </a:p>
        </p:txBody>
      </p:sp>
      <p:sp>
        <p:nvSpPr>
          <p:cNvPr id="30" name="Text Placeholder 7">
            <a:extLst>
              <a:ext uri="{FF2B5EF4-FFF2-40B4-BE49-F238E27FC236}">
                <a16:creationId xmlns:a16="http://schemas.microsoft.com/office/drawing/2014/main" id="{2A97E992-F6C3-984C-A0C7-0DBD88F572E4}"/>
              </a:ext>
            </a:extLst>
          </p:cNvPr>
          <p:cNvSpPr>
            <a:spLocks noGrp="1"/>
          </p:cNvSpPr>
          <p:nvPr>
            <p:ph type="body" sz="quarter" idx="21"/>
          </p:nvPr>
        </p:nvSpPr>
        <p:spPr>
          <a:xfrm>
            <a:off x="9630156" y="3746888"/>
            <a:ext cx="1645920" cy="284758"/>
          </a:xfrm>
          <a:prstGeom prst="rect">
            <a:avLst/>
          </a:prstGeom>
        </p:spPr>
        <p:txBody>
          <a:bodyPr wrap="square" anchor="t" anchorCtr="0">
            <a:spAutoFit/>
          </a:bodyPr>
          <a:lstStyle>
            <a:lvl1pPr marL="0" indent="0" algn="ctr">
              <a:lnSpc>
                <a:spcPct val="110000"/>
              </a:lnSpc>
              <a:spcBef>
                <a:spcPts val="0"/>
              </a:spcBef>
              <a:buNone/>
              <a:defRPr sz="1200" b="0">
                <a:solidFill>
                  <a:schemeClr val="tx1"/>
                </a:solidFill>
                <a:latin typeface="+mn-lt"/>
              </a:defRPr>
            </a:lvl1pPr>
          </a:lstStyle>
          <a:p>
            <a:pPr lvl="0"/>
            <a:endParaRPr lang="en-US"/>
          </a:p>
        </p:txBody>
      </p:sp>
      <p:cxnSp>
        <p:nvCxnSpPr>
          <p:cNvPr id="32" name="Straight Connector 31">
            <a:extLst>
              <a:ext uri="{FF2B5EF4-FFF2-40B4-BE49-F238E27FC236}">
                <a16:creationId xmlns:a16="http://schemas.microsoft.com/office/drawing/2014/main" id="{DDCD6415-B3BB-A9A4-7D70-A1D58E6730DD}"/>
              </a:ext>
            </a:extLst>
          </p:cNvPr>
          <p:cNvCxnSpPr>
            <a:cxnSpLocks/>
          </p:cNvCxnSpPr>
          <p:nvPr userDrawn="1"/>
        </p:nvCxnSpPr>
        <p:spPr>
          <a:xfrm>
            <a:off x="9995916" y="3447238"/>
            <a:ext cx="914400" cy="0"/>
          </a:xfrm>
          <a:prstGeom prst="line">
            <a:avLst/>
          </a:prstGeom>
          <a:ln w="38100" cap="rn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5166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14483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1202508"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86740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2</a:t>
            </a:r>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2116908"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1</a:t>
            </a:r>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9627620" y="3483315"/>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j-lt"/>
              </a:rPr>
              <a:t>3</a:t>
            </a:r>
          </a:p>
        </p:txBody>
      </p:sp>
      <p:cxnSp>
        <p:nvCxnSpPr>
          <p:cNvPr id="13" name="Straight Connector 12">
            <a:extLst>
              <a:ext uri="{FF2B5EF4-FFF2-40B4-BE49-F238E27FC236}">
                <a16:creationId xmlns:a16="http://schemas.microsoft.com/office/drawing/2014/main" id="{6A25765D-ACEF-715F-7E4D-A68C1BFA2DD9}"/>
              </a:ext>
            </a:extLst>
          </p:cNvPr>
          <p:cNvCxnSpPr>
            <a:stCxn id="7" idx="6"/>
            <a:endCxn id="25" idx="2"/>
          </p:cNvCxnSpPr>
          <p:nvPr userDrawn="1"/>
        </p:nvCxnSpPr>
        <p:spPr>
          <a:xfrm>
            <a:off x="2574108" y="3711915"/>
            <a:ext cx="3293292" cy="0"/>
          </a:xfrm>
          <a:prstGeom prst="line">
            <a:avLst/>
          </a:prstGeom>
          <a:ln w="25400" cap="sq"/>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308A8D2-E977-3D8F-52FF-D20DF2CD568A}"/>
              </a:ext>
            </a:extLst>
          </p:cNvPr>
          <p:cNvCxnSpPr>
            <a:stCxn id="25" idx="6"/>
            <a:endCxn id="22" idx="2"/>
          </p:cNvCxnSpPr>
          <p:nvPr userDrawn="1"/>
        </p:nvCxnSpPr>
        <p:spPr>
          <a:xfrm>
            <a:off x="6324600" y="3711915"/>
            <a:ext cx="3303020" cy="0"/>
          </a:xfrm>
          <a:prstGeom prst="line">
            <a:avLst/>
          </a:prstGeom>
          <a:ln w="25400" cap="sq"/>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370F47DE-4C02-2CFD-9C3C-66C96698C614}"/>
              </a:ext>
            </a:extLst>
          </p:cNvPr>
          <p:cNvSpPr>
            <a:spLocks noGrp="1"/>
          </p:cNvSpPr>
          <p:nvPr>
            <p:ph type="body" sz="quarter" idx="18"/>
          </p:nvPr>
        </p:nvSpPr>
        <p:spPr>
          <a:xfrm>
            <a:off x="1202508"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29" name="Text Placeholder 7">
            <a:extLst>
              <a:ext uri="{FF2B5EF4-FFF2-40B4-BE49-F238E27FC236}">
                <a16:creationId xmlns:a16="http://schemas.microsoft.com/office/drawing/2014/main" id="{469D82BB-F286-0712-2FA6-D3D275ED31C4}"/>
              </a:ext>
            </a:extLst>
          </p:cNvPr>
          <p:cNvSpPr>
            <a:spLocks noGrp="1"/>
          </p:cNvSpPr>
          <p:nvPr>
            <p:ph type="body" sz="quarter" idx="19"/>
          </p:nvPr>
        </p:nvSpPr>
        <p:spPr>
          <a:xfrm>
            <a:off x="495300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0" name="Text Placeholder 7">
            <a:extLst>
              <a:ext uri="{FF2B5EF4-FFF2-40B4-BE49-F238E27FC236}">
                <a16:creationId xmlns:a16="http://schemas.microsoft.com/office/drawing/2014/main" id="{7F5D9FEC-2077-53B6-966D-FE91C310A318}"/>
              </a:ext>
            </a:extLst>
          </p:cNvPr>
          <p:cNvSpPr>
            <a:spLocks noGrp="1"/>
          </p:cNvSpPr>
          <p:nvPr>
            <p:ph type="body" sz="quarter" idx="20"/>
          </p:nvPr>
        </p:nvSpPr>
        <p:spPr>
          <a:xfrm>
            <a:off x="495300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
        <p:nvSpPr>
          <p:cNvPr id="31" name="Text Placeholder 7">
            <a:extLst>
              <a:ext uri="{FF2B5EF4-FFF2-40B4-BE49-F238E27FC236}">
                <a16:creationId xmlns:a16="http://schemas.microsoft.com/office/drawing/2014/main" id="{0C40B926-F7A9-AEA0-D21E-941E3060CA28}"/>
              </a:ext>
            </a:extLst>
          </p:cNvPr>
          <p:cNvSpPr>
            <a:spLocks noGrp="1"/>
          </p:cNvSpPr>
          <p:nvPr>
            <p:ph type="body" sz="quarter" idx="21"/>
          </p:nvPr>
        </p:nvSpPr>
        <p:spPr>
          <a:xfrm>
            <a:off x="8713220" y="4494221"/>
            <a:ext cx="2286000" cy="184666"/>
          </a:xfrm>
          <a:prstGeom prst="rect">
            <a:avLst/>
          </a:prstGeom>
        </p:spPr>
        <p:txBody>
          <a:bodyPr wrap="square" lIns="0" tIns="0" rIns="0" bIns="0">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32" name="Text Placeholder 7">
            <a:extLst>
              <a:ext uri="{FF2B5EF4-FFF2-40B4-BE49-F238E27FC236}">
                <a16:creationId xmlns:a16="http://schemas.microsoft.com/office/drawing/2014/main" id="{1AA20646-C4DB-5051-FE4D-CC6B3392F445}"/>
              </a:ext>
            </a:extLst>
          </p:cNvPr>
          <p:cNvSpPr>
            <a:spLocks noGrp="1"/>
          </p:cNvSpPr>
          <p:nvPr>
            <p:ph type="body" sz="quarter" idx="22"/>
          </p:nvPr>
        </p:nvSpPr>
        <p:spPr>
          <a:xfrm>
            <a:off x="8713220" y="4127122"/>
            <a:ext cx="2286000" cy="184666"/>
          </a:xfrm>
          <a:prstGeom prst="rect">
            <a:avLst/>
          </a:prstGeom>
        </p:spPr>
        <p:txBody>
          <a:bodyPr wrap="square" lIns="0" tIns="0" rIns="0" bIns="0">
            <a:spAutoFit/>
          </a:bodyPr>
          <a:lstStyle>
            <a:lvl1pPr marL="0" indent="0" algn="ctr">
              <a:lnSpc>
                <a:spcPct val="100000"/>
              </a:lnSpc>
              <a:spcBef>
                <a:spcPts val="0"/>
              </a:spcBef>
              <a:buNone/>
              <a:defRPr sz="1200" b="1">
                <a:solidFill>
                  <a:schemeClr val="accent1"/>
                </a:solidFill>
                <a:latin typeface="+mj-lt"/>
              </a:defRPr>
            </a:lvl1pPr>
          </a:lstStyle>
          <a:p>
            <a:pPr lvl="0"/>
            <a:endParaRPr lang="en-US"/>
          </a:p>
        </p:txBody>
      </p:sp>
    </p:spTree>
    <p:extLst>
      <p:ext uri="{BB962C8B-B14F-4D97-AF65-F5344CB8AC3E}">
        <p14:creationId xmlns:p14="http://schemas.microsoft.com/office/powerpoint/2010/main" val="41770694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rds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301AC39-50EF-F537-90B3-A203E16FB12F}"/>
              </a:ext>
            </a:extLst>
          </p:cNvPr>
          <p:cNvSpPr/>
          <p:nvPr userDrawn="1"/>
        </p:nvSpPr>
        <p:spPr>
          <a:xfrm>
            <a:off x="2181429"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6276934" y="3359150"/>
            <a:ext cx="3733637"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35453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2985502" y="4260871"/>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408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081007" y="4230300"/>
            <a:ext cx="212549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39049664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rds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704956"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4735403"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7765851" y="3359150"/>
            <a:ext cx="2721193"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userDrawn="1">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userDrawn="1">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562632"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2000738"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5593079"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5031185"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862352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8061633" y="4260871"/>
            <a:ext cx="2129629"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4460381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rds 4">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1513061"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867314"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6221567"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575820" y="3359150"/>
            <a:ext cx="2103120" cy="212725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64462"/>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1203931"/>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061701"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41661"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415954"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4095914"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770207"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450167" y="4260871"/>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24460" y="2685869"/>
            <a:ext cx="1005840" cy="10058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804420" y="4230300"/>
            <a:ext cx="1645920" cy="413062"/>
          </a:xfrm>
          <a:prstGeom prst="rect">
            <a:avLst/>
          </a:prstGeom>
        </p:spPr>
        <p:txBody>
          <a:bodyPr wrap="square" anchor="ctr" anchorCtr="0">
            <a:spAutoFit/>
          </a:bodyPr>
          <a:lstStyle>
            <a:lvl1pPr marL="0" indent="0" algn="ctr">
              <a:lnSpc>
                <a:spcPct val="110000"/>
              </a:lnSpc>
              <a:spcBef>
                <a:spcPts val="0"/>
              </a:spcBef>
              <a:buNone/>
              <a:defRPr sz="2000" b="0">
                <a:solidFill>
                  <a:schemeClr val="tx1"/>
                </a:solidFill>
                <a:latin typeface="+mn-lt"/>
              </a:defRPr>
            </a:lvl1pPr>
          </a:lstStyle>
          <a:p>
            <a:pPr lvl="0"/>
            <a:endParaRPr lang="en-US"/>
          </a:p>
        </p:txBody>
      </p:sp>
    </p:spTree>
    <p:extLst>
      <p:ext uri="{BB962C8B-B14F-4D97-AF65-F5344CB8AC3E}">
        <p14:creationId xmlns:p14="http://schemas.microsoft.com/office/powerpoint/2010/main" val="22206043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in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4724400" y="3607340"/>
            <a:ext cx="27432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49530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0D5519EB-0A28-48E3-336E-75DC0D694BC1}"/>
              </a:ext>
            </a:extLst>
          </p:cNvPr>
          <p:cNvSpPr/>
          <p:nvPr userDrawn="1"/>
        </p:nvSpPr>
        <p:spPr>
          <a:xfrm>
            <a:off x="1981200" y="3607340"/>
            <a:ext cx="27432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9ED7FE08-90C0-A179-06D8-BF78D6660D6B}"/>
              </a:ext>
            </a:extLst>
          </p:cNvPr>
          <p:cNvSpPr>
            <a:spLocks noChangeAspect="1"/>
          </p:cNvSpPr>
          <p:nvPr userDrawn="1"/>
        </p:nvSpPr>
        <p:spPr>
          <a:xfrm>
            <a:off x="30327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79C31D72-6769-9F94-B152-AB85721B51B4}"/>
              </a:ext>
            </a:extLst>
          </p:cNvPr>
          <p:cNvSpPr>
            <a:spLocks noChangeAspect="1"/>
          </p:cNvSpPr>
          <p:nvPr userDrawn="1"/>
        </p:nvSpPr>
        <p:spPr>
          <a:xfrm>
            <a:off x="3169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8" name="Text Placeholder 7">
            <a:extLst>
              <a:ext uri="{FF2B5EF4-FFF2-40B4-BE49-F238E27FC236}">
                <a16:creationId xmlns:a16="http://schemas.microsoft.com/office/drawing/2014/main" id="{F537FFA4-3D27-D2CB-0E15-EE5D8655E228}"/>
              </a:ext>
            </a:extLst>
          </p:cNvPr>
          <p:cNvSpPr>
            <a:spLocks noGrp="1"/>
          </p:cNvSpPr>
          <p:nvPr>
            <p:ph type="body" sz="quarter" idx="17"/>
          </p:nvPr>
        </p:nvSpPr>
        <p:spPr>
          <a:xfrm>
            <a:off x="22098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0" name="Rectangle 9">
            <a:extLst>
              <a:ext uri="{FF2B5EF4-FFF2-40B4-BE49-F238E27FC236}">
                <a16:creationId xmlns:a16="http://schemas.microsoft.com/office/drawing/2014/main" id="{01670E57-D4BF-1AAD-4F00-CFC172B949EB}"/>
              </a:ext>
            </a:extLst>
          </p:cNvPr>
          <p:cNvSpPr/>
          <p:nvPr userDrawn="1"/>
        </p:nvSpPr>
        <p:spPr>
          <a:xfrm>
            <a:off x="7467600" y="3607340"/>
            <a:ext cx="27432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946952C5-3B30-5CF7-91B9-D5BCBE89A1F5}"/>
              </a:ext>
            </a:extLst>
          </p:cNvPr>
          <p:cNvSpPr>
            <a:spLocks noChangeAspect="1"/>
          </p:cNvSpPr>
          <p:nvPr userDrawn="1"/>
        </p:nvSpPr>
        <p:spPr>
          <a:xfrm>
            <a:off x="85191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256CD677-8DA1-0C16-7482-7F0F8374942F}"/>
              </a:ext>
            </a:extLst>
          </p:cNvPr>
          <p:cNvSpPr>
            <a:spLocks noChangeAspect="1"/>
          </p:cNvSpPr>
          <p:nvPr userDrawn="1"/>
        </p:nvSpPr>
        <p:spPr>
          <a:xfrm>
            <a:off x="8656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mj-lt"/>
              </a:rPr>
              <a:t>3</a:t>
            </a:r>
          </a:p>
        </p:txBody>
      </p:sp>
      <p:sp>
        <p:nvSpPr>
          <p:cNvPr id="27" name="Text Placeholder 7">
            <a:extLst>
              <a:ext uri="{FF2B5EF4-FFF2-40B4-BE49-F238E27FC236}">
                <a16:creationId xmlns:a16="http://schemas.microsoft.com/office/drawing/2014/main" id="{F722B445-20C8-72DC-28DD-41B92ED25975}"/>
              </a:ext>
            </a:extLst>
          </p:cNvPr>
          <p:cNvSpPr>
            <a:spLocks noGrp="1"/>
          </p:cNvSpPr>
          <p:nvPr>
            <p:ph type="body" sz="quarter" idx="18"/>
          </p:nvPr>
        </p:nvSpPr>
        <p:spPr>
          <a:xfrm>
            <a:off x="7696200" y="4134295"/>
            <a:ext cx="228600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2170078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in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grpSp>
        <p:nvGrpSpPr>
          <p:cNvPr id="15" name="Group 14">
            <a:extLst>
              <a:ext uri="{FF2B5EF4-FFF2-40B4-BE49-F238E27FC236}">
                <a16:creationId xmlns:a16="http://schemas.microsoft.com/office/drawing/2014/main" id="{85A7E188-33E4-E269-6434-F2D1705D22DB}"/>
              </a:ext>
            </a:extLst>
          </p:cNvPr>
          <p:cNvGrpSpPr/>
          <p:nvPr userDrawn="1"/>
        </p:nvGrpSpPr>
        <p:grpSpPr>
          <a:xfrm>
            <a:off x="1419225" y="3355880"/>
            <a:ext cx="2286000" cy="640080"/>
            <a:chOff x="987032" y="3279680"/>
            <a:chExt cx="2286000" cy="640080"/>
          </a:xfrm>
        </p:grpSpPr>
        <p:sp>
          <p:nvSpPr>
            <p:cNvPr id="12" name="Rectangle 11">
              <a:extLst>
                <a:ext uri="{FF2B5EF4-FFF2-40B4-BE49-F238E27FC236}">
                  <a16:creationId xmlns:a16="http://schemas.microsoft.com/office/drawing/2014/main" id="{4B4BEC70-7E02-9579-75E9-E3F9A2AEF385}"/>
                </a:ext>
              </a:extLst>
            </p:cNvPr>
            <p:cNvSpPr/>
            <p:nvPr userDrawn="1"/>
          </p:nvSpPr>
          <p:spPr>
            <a:xfrm>
              <a:off x="987032" y="3531140"/>
              <a:ext cx="2286000"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1809992" y="32796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1947152" y="34168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grpSp>
      <p:sp>
        <p:nvSpPr>
          <p:cNvPr id="16" name="Text Placeholder 7">
            <a:extLst>
              <a:ext uri="{FF2B5EF4-FFF2-40B4-BE49-F238E27FC236}">
                <a16:creationId xmlns:a16="http://schemas.microsoft.com/office/drawing/2014/main" id="{3952704B-368A-DE61-E747-1D4BBC4F42AA}"/>
              </a:ext>
            </a:extLst>
          </p:cNvPr>
          <p:cNvSpPr>
            <a:spLocks noGrp="1"/>
          </p:cNvSpPr>
          <p:nvPr>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07340"/>
            <a:ext cx="22860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07340"/>
            <a:ext cx="22860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07340"/>
            <a:ext cx="22860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23660145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ne 5">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524000" y="3607340"/>
            <a:ext cx="1828800" cy="1371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183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2555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7068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352800" y="3607340"/>
            <a:ext cx="182880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3947160" y="3355880"/>
            <a:ext cx="640080" cy="6400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0843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5"/>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5356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181600" y="3607340"/>
            <a:ext cx="1828800" cy="137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5775960"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5913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53644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7010400" y="3607340"/>
            <a:ext cx="1828800" cy="1371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7604760" y="3355880"/>
            <a:ext cx="640080" cy="6400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77419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4"/>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71932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 name="Rectangle 1">
            <a:extLst>
              <a:ext uri="{FF2B5EF4-FFF2-40B4-BE49-F238E27FC236}">
                <a16:creationId xmlns:a16="http://schemas.microsoft.com/office/drawing/2014/main" id="{DBED0348-A68C-3BDC-02EA-4ED68BECD2DE}"/>
              </a:ext>
            </a:extLst>
          </p:cNvPr>
          <p:cNvSpPr/>
          <p:nvPr userDrawn="1"/>
        </p:nvSpPr>
        <p:spPr>
          <a:xfrm>
            <a:off x="8839200" y="3607340"/>
            <a:ext cx="1828800" cy="137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1338211E-99BC-FE47-9AE9-9E41D33AB903}"/>
              </a:ext>
            </a:extLst>
          </p:cNvPr>
          <p:cNvSpPr>
            <a:spLocks noChangeAspect="1"/>
          </p:cNvSpPr>
          <p:nvPr userDrawn="1"/>
        </p:nvSpPr>
        <p:spPr>
          <a:xfrm>
            <a:off x="9433560"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C1439478-20CF-1415-E111-393134249855}"/>
              </a:ext>
            </a:extLst>
          </p:cNvPr>
          <p:cNvSpPr>
            <a:spLocks noChangeAspect="1"/>
          </p:cNvSpPr>
          <p:nvPr userDrawn="1"/>
        </p:nvSpPr>
        <p:spPr>
          <a:xfrm>
            <a:off x="95707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5</a:t>
            </a:r>
          </a:p>
        </p:txBody>
      </p:sp>
      <p:sp>
        <p:nvSpPr>
          <p:cNvPr id="8" name="Text Placeholder 7">
            <a:extLst>
              <a:ext uri="{FF2B5EF4-FFF2-40B4-BE49-F238E27FC236}">
                <a16:creationId xmlns:a16="http://schemas.microsoft.com/office/drawing/2014/main" id="{E1CC260C-504F-6E41-D1D8-20EAE6CE1A0B}"/>
              </a:ext>
            </a:extLst>
          </p:cNvPr>
          <p:cNvSpPr>
            <a:spLocks noGrp="1"/>
          </p:cNvSpPr>
          <p:nvPr userDrawn="1">
            <p:ph type="body" sz="quarter" idx="18"/>
          </p:nvPr>
        </p:nvSpPr>
        <p:spPr>
          <a:xfrm>
            <a:off x="9022080" y="4134295"/>
            <a:ext cx="1463040"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Tree>
    <p:extLst>
      <p:ext uri="{BB962C8B-B14F-4D97-AF65-F5344CB8AC3E}">
        <p14:creationId xmlns:p14="http://schemas.microsoft.com/office/powerpoint/2010/main" val="38425269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rategy Bloc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0451983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rategy Blocks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1419225" y="3439159"/>
            <a:ext cx="2286000" cy="18338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2105025" y="29923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2300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1</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1651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tx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64128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p:txBody>
          <a:bodyPr/>
          <a:lstStyle/>
          <a:p>
            <a:fld id="{6CC2FB7E-E9FD-AA44-8101-F627C1923673}" type="slidenum">
              <a:rPr lang="en-US" smtClean="0"/>
              <a:pPr/>
              <a:t>‹#›</a:t>
            </a:fld>
            <a:endParaRPr lang="en-US" dirty="0"/>
          </a:p>
        </p:txBody>
      </p:sp>
    </p:spTree>
    <p:extLst>
      <p:ext uri="{BB962C8B-B14F-4D97-AF65-F5344CB8AC3E}">
        <p14:creationId xmlns:p14="http://schemas.microsoft.com/office/powerpoint/2010/main" val="370902835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rategy Blocks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3705225" y="3439159"/>
            <a:ext cx="2286000" cy="18338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4391025" y="29923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4586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mj-lt"/>
              </a:rPr>
              <a:t>2</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3937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5991225"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6814185"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6951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6223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9554304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rategy Blocks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5991225" y="3439159"/>
            <a:ext cx="2286000" cy="18338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6677025" y="2992357"/>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6872968"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3"/>
                </a:solidFill>
                <a:latin typeface="+mj-lt"/>
              </a:rPr>
              <a:t>3</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223393"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8277225" y="3673475"/>
            <a:ext cx="2286000" cy="136524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9100185" y="3355880"/>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9237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4</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8509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30087072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trategy Blocks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915924" y="1659244"/>
            <a:ext cx="10360152" cy="553998"/>
          </a:xfrm>
          <a:prstGeom prst="rect">
            <a:avLst/>
          </a:prstGeom>
        </p:spPr>
        <p:txBody>
          <a:bodyPr>
            <a:spAutoFit/>
          </a:bodyPr>
          <a:lstStyle>
            <a:lvl1pPr marL="0" indent="0" algn="ctr">
              <a:lnSpc>
                <a:spcPct val="100000"/>
              </a:lnSpc>
              <a:spcBef>
                <a:spcPts val="0"/>
              </a:spcBef>
              <a:buNone/>
              <a:defRPr sz="3000" b="1">
                <a:solidFill>
                  <a:schemeClr val="tx2"/>
                </a:solidFill>
                <a:latin typeface="+mj-lt"/>
              </a:defRPr>
            </a:lvl1pPr>
          </a:lstStyle>
          <a:p>
            <a:pPr lvl="0"/>
            <a:endParaRPr lang="en-US"/>
          </a:p>
        </p:txBody>
      </p:sp>
      <p:sp>
        <p:nvSpPr>
          <p:cNvPr id="11" name="Text Placeholder 7">
            <a:extLst>
              <a:ext uri="{FF2B5EF4-FFF2-40B4-BE49-F238E27FC236}">
                <a16:creationId xmlns:a16="http://schemas.microsoft.com/office/drawing/2014/main" id="{BDD32301-0F62-8DC6-D70B-3C2E01956C2E}"/>
              </a:ext>
            </a:extLst>
          </p:cNvPr>
          <p:cNvSpPr>
            <a:spLocks noGrp="1"/>
          </p:cNvSpPr>
          <p:nvPr>
            <p:ph type="body" sz="quarter" idx="13"/>
          </p:nvPr>
        </p:nvSpPr>
        <p:spPr>
          <a:xfrm>
            <a:off x="915924" y="2244694"/>
            <a:ext cx="10360152" cy="400110"/>
          </a:xfrm>
          <a:prstGeom prst="rect">
            <a:avLst/>
          </a:prstGeom>
        </p:spPr>
        <p:txBody>
          <a:bodyPr>
            <a:spAutoFit/>
          </a:bodyPr>
          <a:lstStyle>
            <a:lvl1pPr marL="0" indent="0" algn="ctr">
              <a:lnSpc>
                <a:spcPct val="100000"/>
              </a:lnSpc>
              <a:spcBef>
                <a:spcPts val="0"/>
              </a:spcBef>
              <a:buNone/>
              <a:defRPr sz="2000" b="1">
                <a:solidFill>
                  <a:schemeClr val="accent1"/>
                </a:solidFill>
                <a:latin typeface="+mj-lt"/>
              </a:defRPr>
            </a:lvl1pPr>
          </a:lstStyle>
          <a:p>
            <a:pPr lvl="0"/>
            <a:endParaRPr lang="en-US"/>
          </a:p>
        </p:txBody>
      </p:sp>
      <p:sp>
        <p:nvSpPr>
          <p:cNvPr id="12" name="Rectangle 11">
            <a:extLst>
              <a:ext uri="{FF2B5EF4-FFF2-40B4-BE49-F238E27FC236}">
                <a16:creationId xmlns:a16="http://schemas.microsoft.com/office/drawing/2014/main" id="{4B4BEC70-7E02-9579-75E9-E3F9A2AEF385}"/>
              </a:ext>
            </a:extLst>
          </p:cNvPr>
          <p:cNvSpPr/>
          <p:nvPr userDrawn="1"/>
        </p:nvSpPr>
        <p:spPr>
          <a:xfrm>
            <a:off x="8241000" y="3439159"/>
            <a:ext cx="2286000" cy="1833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8926800" y="2992357"/>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9122743" y="3188300"/>
            <a:ext cx="522514" cy="522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2"/>
                </a:solidFill>
                <a:latin typeface="+mj-lt"/>
              </a:rPr>
              <a:t>4</a:t>
            </a:r>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8473168" y="3911473"/>
            <a:ext cx="1821664" cy="369332"/>
          </a:xfrm>
          <a:prstGeom prst="rect">
            <a:avLst/>
          </a:prstGeom>
        </p:spPr>
        <p:txBody>
          <a:bodyPr wrap="square">
            <a:spAutoFit/>
          </a:bodyPr>
          <a:lstStyle>
            <a:lvl1pPr marL="0" indent="0" algn="ctr">
              <a:lnSpc>
                <a:spcPct val="100000"/>
              </a:lnSpc>
              <a:spcBef>
                <a:spcPts val="0"/>
              </a:spcBef>
              <a:buNone/>
              <a:defRPr sz="1800" b="0">
                <a:solidFill>
                  <a:schemeClr val="bg1"/>
                </a:solidFill>
                <a:latin typeface="+mn-lt"/>
              </a:defRPr>
            </a:lvl1pPr>
          </a:lstStyle>
          <a:p>
            <a:pPr lvl="0"/>
            <a:endParaRPr lang="en-US"/>
          </a:p>
        </p:txBody>
      </p:sp>
      <p:sp>
        <p:nvSpPr>
          <p:cNvPr id="18" name="Rectangle 17">
            <a:extLst>
              <a:ext uri="{FF2B5EF4-FFF2-40B4-BE49-F238E27FC236}">
                <a16:creationId xmlns:a16="http://schemas.microsoft.com/office/drawing/2014/main" id="{ED160447-A5DB-B8CB-6481-6D5F26537264}"/>
              </a:ext>
            </a:extLst>
          </p:cNvPr>
          <p:cNvSpPr/>
          <p:nvPr userDrawn="1"/>
        </p:nvSpPr>
        <p:spPr>
          <a:xfrm>
            <a:off x="1419225" y="3673475"/>
            <a:ext cx="2286000" cy="13652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35B52C23-EBF4-15CD-6D82-3D7C39F2106D}"/>
              </a:ext>
            </a:extLst>
          </p:cNvPr>
          <p:cNvSpPr>
            <a:spLocks noChangeAspect="1"/>
          </p:cNvSpPr>
          <p:nvPr userDrawn="1"/>
        </p:nvSpPr>
        <p:spPr>
          <a:xfrm>
            <a:off x="2242185" y="3355880"/>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C1495E32-767F-5FBC-4A5B-0D457D484256}"/>
              </a:ext>
            </a:extLst>
          </p:cNvPr>
          <p:cNvSpPr>
            <a:spLocks noChangeAspect="1"/>
          </p:cNvSpPr>
          <p:nvPr userDrawn="1"/>
        </p:nvSpPr>
        <p:spPr>
          <a:xfrm>
            <a:off x="2379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1</a:t>
            </a:r>
          </a:p>
        </p:txBody>
      </p:sp>
      <p:sp>
        <p:nvSpPr>
          <p:cNvPr id="21" name="Text Placeholder 7">
            <a:extLst>
              <a:ext uri="{FF2B5EF4-FFF2-40B4-BE49-F238E27FC236}">
                <a16:creationId xmlns:a16="http://schemas.microsoft.com/office/drawing/2014/main" id="{28A8E196-D9DE-DEA1-CCB1-3DD0DA9BC834}"/>
              </a:ext>
            </a:extLst>
          </p:cNvPr>
          <p:cNvSpPr>
            <a:spLocks noGrp="1"/>
          </p:cNvSpPr>
          <p:nvPr userDrawn="1">
            <p:ph type="body" sz="quarter" idx="15"/>
          </p:nvPr>
        </p:nvSpPr>
        <p:spPr>
          <a:xfrm>
            <a:off x="1651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tx1"/>
                </a:solidFill>
                <a:latin typeface="+mn-lt"/>
              </a:defRPr>
            </a:lvl1pPr>
          </a:lstStyle>
          <a:p>
            <a:pPr lvl="0"/>
            <a:endParaRPr lang="en-US"/>
          </a:p>
        </p:txBody>
      </p:sp>
      <p:sp>
        <p:nvSpPr>
          <p:cNvPr id="23" name="Rectangle 22">
            <a:extLst>
              <a:ext uri="{FF2B5EF4-FFF2-40B4-BE49-F238E27FC236}">
                <a16:creationId xmlns:a16="http://schemas.microsoft.com/office/drawing/2014/main" id="{5301AC39-50EF-F537-90B3-A203E16FB12F}"/>
              </a:ext>
            </a:extLst>
          </p:cNvPr>
          <p:cNvSpPr/>
          <p:nvPr userDrawn="1"/>
        </p:nvSpPr>
        <p:spPr>
          <a:xfrm>
            <a:off x="3705225" y="3673475"/>
            <a:ext cx="2286000" cy="13652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a:extLst>
              <a:ext uri="{FF2B5EF4-FFF2-40B4-BE49-F238E27FC236}">
                <a16:creationId xmlns:a16="http://schemas.microsoft.com/office/drawing/2014/main" id="{53913A41-361D-9EA5-8B5D-3D6988294854}"/>
              </a:ext>
            </a:extLst>
          </p:cNvPr>
          <p:cNvSpPr>
            <a:spLocks noChangeAspect="1"/>
          </p:cNvSpPr>
          <p:nvPr userDrawn="1"/>
        </p:nvSpPr>
        <p:spPr>
          <a:xfrm>
            <a:off x="4528185" y="33558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a:extLst>
              <a:ext uri="{FF2B5EF4-FFF2-40B4-BE49-F238E27FC236}">
                <a16:creationId xmlns:a16="http://schemas.microsoft.com/office/drawing/2014/main" id="{AAFAD5AE-BC99-15DE-469E-1616D624C95E}"/>
              </a:ext>
            </a:extLst>
          </p:cNvPr>
          <p:cNvSpPr>
            <a:spLocks noChangeAspect="1"/>
          </p:cNvSpPr>
          <p:nvPr userDrawn="1"/>
        </p:nvSpPr>
        <p:spPr>
          <a:xfrm>
            <a:off x="4665345"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latin typeface="+mj-lt"/>
              </a:rPr>
              <a:t>2</a:t>
            </a:r>
          </a:p>
        </p:txBody>
      </p:sp>
      <p:sp>
        <p:nvSpPr>
          <p:cNvPr id="26" name="Text Placeholder 7">
            <a:extLst>
              <a:ext uri="{FF2B5EF4-FFF2-40B4-BE49-F238E27FC236}">
                <a16:creationId xmlns:a16="http://schemas.microsoft.com/office/drawing/2014/main" id="{19BA09EE-D907-69DC-FEC2-9167FA788BE9}"/>
              </a:ext>
            </a:extLst>
          </p:cNvPr>
          <p:cNvSpPr>
            <a:spLocks noGrp="1"/>
          </p:cNvSpPr>
          <p:nvPr userDrawn="1">
            <p:ph type="body" sz="quarter" idx="16"/>
          </p:nvPr>
        </p:nvSpPr>
        <p:spPr>
          <a:xfrm>
            <a:off x="3937393"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
        <p:nvSpPr>
          <p:cNvPr id="28" name="Rectangle 27">
            <a:extLst>
              <a:ext uri="{FF2B5EF4-FFF2-40B4-BE49-F238E27FC236}">
                <a16:creationId xmlns:a16="http://schemas.microsoft.com/office/drawing/2014/main" id="{C61E2CFC-02E4-2E29-9BF6-D93A88FD9D41}"/>
              </a:ext>
            </a:extLst>
          </p:cNvPr>
          <p:cNvSpPr/>
          <p:nvPr userDrawn="1"/>
        </p:nvSpPr>
        <p:spPr>
          <a:xfrm>
            <a:off x="5955000" y="3673475"/>
            <a:ext cx="2286000" cy="13652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34634403-3919-1DE1-2249-749C011A458B}"/>
              </a:ext>
            </a:extLst>
          </p:cNvPr>
          <p:cNvSpPr>
            <a:spLocks noChangeAspect="1"/>
          </p:cNvSpPr>
          <p:nvPr userDrawn="1"/>
        </p:nvSpPr>
        <p:spPr>
          <a:xfrm>
            <a:off x="6777960" y="3355880"/>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a:extLst>
              <a:ext uri="{FF2B5EF4-FFF2-40B4-BE49-F238E27FC236}">
                <a16:creationId xmlns:a16="http://schemas.microsoft.com/office/drawing/2014/main" id="{8BF4EC39-175F-7B48-EAF6-0EA636001D23}"/>
              </a:ext>
            </a:extLst>
          </p:cNvPr>
          <p:cNvSpPr>
            <a:spLocks noChangeAspect="1"/>
          </p:cNvSpPr>
          <p:nvPr userDrawn="1"/>
        </p:nvSpPr>
        <p:spPr>
          <a:xfrm>
            <a:off x="6915120" y="3493040"/>
            <a:ext cx="365760" cy="3657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3"/>
                </a:solidFill>
                <a:latin typeface="+mj-lt"/>
              </a:rPr>
              <a:t>3</a:t>
            </a:r>
          </a:p>
        </p:txBody>
      </p:sp>
      <p:sp>
        <p:nvSpPr>
          <p:cNvPr id="31" name="Text Placeholder 7">
            <a:extLst>
              <a:ext uri="{FF2B5EF4-FFF2-40B4-BE49-F238E27FC236}">
                <a16:creationId xmlns:a16="http://schemas.microsoft.com/office/drawing/2014/main" id="{557F4435-1EE0-BB84-6F35-A1A370BEA9F3}"/>
              </a:ext>
            </a:extLst>
          </p:cNvPr>
          <p:cNvSpPr>
            <a:spLocks noGrp="1"/>
          </p:cNvSpPr>
          <p:nvPr userDrawn="1">
            <p:ph type="body" sz="quarter" idx="17"/>
          </p:nvPr>
        </p:nvSpPr>
        <p:spPr>
          <a:xfrm>
            <a:off x="6187168" y="4134295"/>
            <a:ext cx="1821664" cy="276999"/>
          </a:xfrm>
          <a:prstGeom prst="rect">
            <a:avLst/>
          </a:prstGeom>
        </p:spPr>
        <p:txBody>
          <a:bodyPr wrap="square">
            <a:spAutoFit/>
          </a:bodyPr>
          <a:lstStyle>
            <a:lvl1pPr marL="0" indent="0" algn="ctr">
              <a:lnSpc>
                <a:spcPct val="100000"/>
              </a:lnSpc>
              <a:spcBef>
                <a:spcPts val="0"/>
              </a:spcBef>
              <a:buNone/>
              <a:defRPr sz="1200" b="0">
                <a:solidFill>
                  <a:schemeClr val="bg1"/>
                </a:solidFill>
                <a:latin typeface="+mn-lt"/>
              </a:defRPr>
            </a:lvl1pPr>
          </a:lstStyle>
          <a:p>
            <a:pPr lvl="0"/>
            <a:endParaRPr lang="en-US"/>
          </a:p>
        </p:txBody>
      </p:sp>
    </p:spTree>
    <p:extLst>
      <p:ext uri="{BB962C8B-B14F-4D97-AF65-F5344CB8AC3E}">
        <p14:creationId xmlns:p14="http://schemas.microsoft.com/office/powerpoint/2010/main" val="25387651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alf Strategy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27" name="Rectangle 26">
            <a:extLst>
              <a:ext uri="{FF2B5EF4-FFF2-40B4-BE49-F238E27FC236}">
                <a16:creationId xmlns:a16="http://schemas.microsoft.com/office/drawing/2014/main" id="{BD0D187D-D5D2-A70E-176B-B363136D674D}"/>
              </a:ext>
            </a:extLst>
          </p:cNvPr>
          <p:cNvSpPr/>
          <p:nvPr userDrawn="1"/>
        </p:nvSpPr>
        <p:spPr>
          <a:xfrm rot="5400000">
            <a:off x="6862995" y="2838309"/>
            <a:ext cx="957091"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36462BB9-1B94-41BC-9D24-C82FC55A39F6}"/>
              </a:ext>
            </a:extLst>
          </p:cNvPr>
          <p:cNvGrpSpPr/>
          <p:nvPr userDrawn="1"/>
        </p:nvGrpSpPr>
        <p:grpSpPr>
          <a:xfrm>
            <a:off x="7021500" y="1816733"/>
            <a:ext cx="640080" cy="640080"/>
            <a:chOff x="7021500" y="1816733"/>
            <a:chExt cx="640080" cy="640080"/>
          </a:xfrm>
        </p:grpSpPr>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1816733"/>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189815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1</a:t>
              </a:r>
            </a:p>
          </p:txBody>
        </p:sp>
      </p:grpSp>
      <p:sp>
        <p:nvSpPr>
          <p:cNvPr id="35" name="Rectangle 34">
            <a:extLst>
              <a:ext uri="{FF2B5EF4-FFF2-40B4-BE49-F238E27FC236}">
                <a16:creationId xmlns:a16="http://schemas.microsoft.com/office/drawing/2014/main" id="{820886A3-3CCA-33EB-B2EE-013BA48AF37F}"/>
              </a:ext>
            </a:extLst>
          </p:cNvPr>
          <p:cNvSpPr/>
          <p:nvPr userDrawn="1"/>
        </p:nvSpPr>
        <p:spPr>
          <a:xfrm rot="5400000">
            <a:off x="6863312" y="4340859"/>
            <a:ext cx="956427"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4D667E34-3D8B-8435-A7BF-03557F727A21}"/>
              </a:ext>
            </a:extLst>
          </p:cNvPr>
          <p:cNvGrpSpPr/>
          <p:nvPr userDrawn="1"/>
        </p:nvGrpSpPr>
        <p:grpSpPr>
          <a:xfrm>
            <a:off x="7021485" y="3325493"/>
            <a:ext cx="640080" cy="640080"/>
            <a:chOff x="7021485" y="3775916"/>
            <a:chExt cx="640080" cy="640080"/>
          </a:xfrm>
        </p:grpSpPr>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2</a:t>
              </a:r>
            </a:p>
          </p:txBody>
        </p:sp>
      </p:grpSp>
      <p:grpSp>
        <p:nvGrpSpPr>
          <p:cNvPr id="7" name="Group 6">
            <a:extLst>
              <a:ext uri="{FF2B5EF4-FFF2-40B4-BE49-F238E27FC236}">
                <a16:creationId xmlns:a16="http://schemas.microsoft.com/office/drawing/2014/main" id="{3B82EDB9-4BD3-C3DE-04A3-0A2836A763B2}"/>
              </a:ext>
            </a:extLst>
          </p:cNvPr>
          <p:cNvGrpSpPr/>
          <p:nvPr userDrawn="1"/>
        </p:nvGrpSpPr>
        <p:grpSpPr>
          <a:xfrm>
            <a:off x="7021485" y="4834253"/>
            <a:ext cx="640080" cy="640080"/>
            <a:chOff x="7021485" y="4834253"/>
            <a:chExt cx="640080" cy="640080"/>
          </a:xfrm>
        </p:grpSpPr>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3</a:t>
              </a:r>
            </a:p>
          </p:txBody>
        </p:sp>
      </p:gr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1946039"/>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455781"/>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12682049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alf Strategy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769441"/>
          </a:xfrm>
          <a:prstGeom prst="rect">
            <a:avLst/>
          </a:prstGeom>
        </p:spPr>
        <p:txBody>
          <a:bodyPr wrap="square">
            <a:spAutoFit/>
          </a:bodyPr>
          <a:lstStyle>
            <a:lvl1pPr marL="0" indent="0" algn="l">
              <a:lnSpc>
                <a:spcPct val="100000"/>
              </a:lnSpc>
              <a:spcBef>
                <a:spcPts val="0"/>
              </a:spcBef>
              <a:buNone/>
              <a:defRPr sz="4400" b="1">
                <a:solidFill>
                  <a:schemeClr val="tx2"/>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7915309" y="1794618"/>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12" name="Rectangle 11">
            <a:extLst>
              <a:ext uri="{FF2B5EF4-FFF2-40B4-BE49-F238E27FC236}">
                <a16:creationId xmlns:a16="http://schemas.microsoft.com/office/drawing/2014/main" id="{4B4BEC70-7E02-9579-75E9-E3F9A2AEF385}"/>
              </a:ext>
            </a:extLst>
          </p:cNvPr>
          <p:cNvSpPr/>
          <p:nvPr userDrawn="1"/>
        </p:nvSpPr>
        <p:spPr>
          <a:xfrm rot="5400000">
            <a:off x="7092128" y="2443203"/>
            <a:ext cx="498826" cy="972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3" name="Oval 12">
            <a:extLst>
              <a:ext uri="{FF2B5EF4-FFF2-40B4-BE49-F238E27FC236}">
                <a16:creationId xmlns:a16="http://schemas.microsoft.com/office/drawing/2014/main" id="{7E1130F4-B8FD-AE80-F75E-0E392FA9A73D}"/>
              </a:ext>
            </a:extLst>
          </p:cNvPr>
          <p:cNvSpPr>
            <a:spLocks noChangeAspect="1"/>
          </p:cNvSpPr>
          <p:nvPr userDrawn="1"/>
        </p:nvSpPr>
        <p:spPr>
          <a:xfrm>
            <a:off x="7021500" y="1659244"/>
            <a:ext cx="640080" cy="640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14" name="Oval 13">
            <a:extLst>
              <a:ext uri="{FF2B5EF4-FFF2-40B4-BE49-F238E27FC236}">
                <a16:creationId xmlns:a16="http://schemas.microsoft.com/office/drawing/2014/main" id="{777415AB-108B-507A-1BA2-1FBA41D7177F}"/>
              </a:ext>
            </a:extLst>
          </p:cNvPr>
          <p:cNvSpPr>
            <a:spLocks noChangeAspect="1"/>
          </p:cNvSpPr>
          <p:nvPr userDrawn="1"/>
        </p:nvSpPr>
        <p:spPr>
          <a:xfrm>
            <a:off x="7102924" y="1740668"/>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latin typeface="+mj-lt"/>
              </a:rPr>
              <a:t>1</a:t>
            </a:r>
          </a:p>
        </p:txBody>
      </p:sp>
      <p:sp>
        <p:nvSpPr>
          <p:cNvPr id="27" name="Rectangle 26">
            <a:extLst>
              <a:ext uri="{FF2B5EF4-FFF2-40B4-BE49-F238E27FC236}">
                <a16:creationId xmlns:a16="http://schemas.microsoft.com/office/drawing/2014/main" id="{BD0D187D-D5D2-A70E-176B-B363136D674D}"/>
              </a:ext>
            </a:extLst>
          </p:cNvPr>
          <p:cNvSpPr/>
          <p:nvPr userDrawn="1"/>
        </p:nvSpPr>
        <p:spPr>
          <a:xfrm rot="5400000">
            <a:off x="7087896" y="3505771"/>
            <a:ext cx="507290" cy="972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655BE720-2176-F65C-941B-5E3E58FA4E37}"/>
              </a:ext>
            </a:extLst>
          </p:cNvPr>
          <p:cNvSpPr>
            <a:spLocks noChangeAspect="1"/>
          </p:cNvSpPr>
          <p:nvPr userDrawn="1"/>
        </p:nvSpPr>
        <p:spPr>
          <a:xfrm>
            <a:off x="7021500" y="2717580"/>
            <a:ext cx="640080" cy="6400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C238AEBE-961C-B7E7-D10F-B2631DC90DEE}"/>
              </a:ext>
            </a:extLst>
          </p:cNvPr>
          <p:cNvSpPr>
            <a:spLocks noChangeAspect="1"/>
          </p:cNvSpPr>
          <p:nvPr userDrawn="1"/>
        </p:nvSpPr>
        <p:spPr>
          <a:xfrm>
            <a:off x="7102924" y="2799004"/>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solidFill>
                <a:latin typeface="+mj-lt"/>
              </a:rPr>
              <a:t>2</a:t>
            </a:r>
          </a:p>
        </p:txBody>
      </p:sp>
      <p:sp>
        <p:nvSpPr>
          <p:cNvPr id="35" name="Rectangle 34">
            <a:extLst>
              <a:ext uri="{FF2B5EF4-FFF2-40B4-BE49-F238E27FC236}">
                <a16:creationId xmlns:a16="http://schemas.microsoft.com/office/drawing/2014/main" id="{820886A3-3CCA-33EB-B2EE-013BA48AF37F}"/>
              </a:ext>
            </a:extLst>
          </p:cNvPr>
          <p:cNvSpPr/>
          <p:nvPr userDrawn="1"/>
        </p:nvSpPr>
        <p:spPr>
          <a:xfrm rot="5400000">
            <a:off x="7087221" y="4564767"/>
            <a:ext cx="508610" cy="97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C5734902-C341-EDF9-182B-676AAC4DB561}"/>
              </a:ext>
            </a:extLst>
          </p:cNvPr>
          <p:cNvSpPr>
            <a:spLocks noChangeAspect="1"/>
          </p:cNvSpPr>
          <p:nvPr userDrawn="1"/>
        </p:nvSpPr>
        <p:spPr>
          <a:xfrm>
            <a:off x="7021485" y="3775916"/>
            <a:ext cx="640080"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5FD5F033-F5BA-7243-9839-0EF31D6C7392}"/>
              </a:ext>
            </a:extLst>
          </p:cNvPr>
          <p:cNvSpPr>
            <a:spLocks noChangeAspect="1"/>
          </p:cNvSpPr>
          <p:nvPr userDrawn="1"/>
        </p:nvSpPr>
        <p:spPr>
          <a:xfrm>
            <a:off x="7102909" y="3857340"/>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3"/>
                </a:solidFill>
                <a:latin typeface="+mj-lt"/>
              </a:rPr>
              <a:t>3</a:t>
            </a:r>
          </a:p>
        </p:txBody>
      </p:sp>
      <p:sp>
        <p:nvSpPr>
          <p:cNvPr id="40" name="Oval 39">
            <a:extLst>
              <a:ext uri="{FF2B5EF4-FFF2-40B4-BE49-F238E27FC236}">
                <a16:creationId xmlns:a16="http://schemas.microsoft.com/office/drawing/2014/main" id="{58588315-E0D5-1C90-E82D-463ABD8A2CF1}"/>
              </a:ext>
            </a:extLst>
          </p:cNvPr>
          <p:cNvSpPr>
            <a:spLocks noChangeAspect="1"/>
          </p:cNvSpPr>
          <p:nvPr userDrawn="1"/>
        </p:nvSpPr>
        <p:spPr>
          <a:xfrm>
            <a:off x="7021485" y="4834253"/>
            <a:ext cx="640080" cy="6400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4E4BAFBD-5CA5-9DE8-A1B9-3F4555851BC9}"/>
              </a:ext>
            </a:extLst>
          </p:cNvPr>
          <p:cNvSpPr>
            <a:spLocks noChangeAspect="1"/>
          </p:cNvSpPr>
          <p:nvPr userDrawn="1"/>
        </p:nvSpPr>
        <p:spPr>
          <a:xfrm>
            <a:off x="7102909" y="4915677"/>
            <a:ext cx="477232" cy="4772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solidFill>
                <a:latin typeface="+mj-lt"/>
              </a:rPr>
              <a:t>4</a:t>
            </a:r>
          </a:p>
        </p:txBody>
      </p:sp>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7915309" y="2852954"/>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4" name="Text Placeholder 7">
            <a:extLst>
              <a:ext uri="{FF2B5EF4-FFF2-40B4-BE49-F238E27FC236}">
                <a16:creationId xmlns:a16="http://schemas.microsoft.com/office/drawing/2014/main" id="{81EC2F12-905A-251B-04D7-CA116F9D64EF}"/>
              </a:ext>
            </a:extLst>
          </p:cNvPr>
          <p:cNvSpPr>
            <a:spLocks noGrp="1"/>
          </p:cNvSpPr>
          <p:nvPr>
            <p:ph type="body" sz="quarter" idx="16"/>
          </p:nvPr>
        </p:nvSpPr>
        <p:spPr>
          <a:xfrm>
            <a:off x="7915309" y="3911290"/>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
        <p:nvSpPr>
          <p:cNvPr id="45" name="Text Placeholder 7">
            <a:extLst>
              <a:ext uri="{FF2B5EF4-FFF2-40B4-BE49-F238E27FC236}">
                <a16:creationId xmlns:a16="http://schemas.microsoft.com/office/drawing/2014/main" id="{373761B6-269A-98A2-2702-30A10884877B}"/>
              </a:ext>
            </a:extLst>
          </p:cNvPr>
          <p:cNvSpPr>
            <a:spLocks noGrp="1"/>
          </p:cNvSpPr>
          <p:nvPr>
            <p:ph type="body" sz="quarter" idx="17"/>
          </p:nvPr>
        </p:nvSpPr>
        <p:spPr>
          <a:xfrm>
            <a:off x="7915309" y="4969626"/>
            <a:ext cx="3424730" cy="369332"/>
          </a:xfrm>
          <a:prstGeom prst="rect">
            <a:avLst/>
          </a:prstGeom>
        </p:spPr>
        <p:txBody>
          <a:bodyPr wrap="square" anchor="ctr" anchorCtr="0">
            <a:spAutoFit/>
          </a:bodyPr>
          <a:lstStyle>
            <a:lvl1pPr marL="0" indent="0" algn="l">
              <a:lnSpc>
                <a:spcPct val="100000"/>
              </a:lnSpc>
              <a:spcBef>
                <a:spcPts val="0"/>
              </a:spcBef>
              <a:buNone/>
              <a:defRPr sz="1800" b="0">
                <a:solidFill>
                  <a:schemeClr val="tx1"/>
                </a:solidFill>
                <a:latin typeface="+mn-lt"/>
              </a:defRPr>
            </a:lvl1pPr>
          </a:lstStyle>
          <a:p>
            <a:pPr lvl="0"/>
            <a:endParaRPr lang="en-US"/>
          </a:p>
        </p:txBody>
      </p:sp>
    </p:spTree>
    <p:extLst>
      <p:ext uri="{BB962C8B-B14F-4D97-AF65-F5344CB8AC3E}">
        <p14:creationId xmlns:p14="http://schemas.microsoft.com/office/powerpoint/2010/main" val="39900808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alf Parts 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0" y="-71340"/>
            <a:ext cx="6096000" cy="69293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10895013" cy="355600"/>
          </a:xfrm>
          <a:prstGeom prst="rect">
            <a:avLst/>
          </a:prstGeom>
        </p:spPr>
        <p:txBody>
          <a:bodyPr/>
          <a:lstStyle>
            <a:lvl1pPr marL="0" indent="0">
              <a:buNone/>
              <a:defRPr sz="1600" b="1">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5637276"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2065388"/>
            <a:ext cx="4364476" cy="584775"/>
          </a:xfrm>
          <a:prstGeom prst="rect">
            <a:avLst/>
          </a:prstGeom>
        </p:spPr>
        <p:txBody>
          <a:bodyPr wrap="square">
            <a:spAutoFit/>
          </a:bodyPr>
          <a:lstStyle>
            <a:lvl1pPr marL="0" indent="0" algn="l">
              <a:lnSpc>
                <a:spcPct val="100000"/>
              </a:lnSpc>
              <a:spcBef>
                <a:spcPts val="0"/>
              </a:spcBef>
              <a:buNone/>
              <a:defRPr sz="3200" b="1">
                <a:solidFill>
                  <a:schemeClr val="bg1"/>
                </a:solidFill>
                <a:latin typeface="+mj-lt"/>
              </a:defRPr>
            </a:lvl1pPr>
          </a:lstStyle>
          <a:p>
            <a:pPr lvl="0"/>
            <a:endParaRPr lang="en-US"/>
          </a:p>
        </p:txBody>
      </p:sp>
      <p:sp>
        <p:nvSpPr>
          <p:cNvPr id="16" name="Text Placeholder 7">
            <a:extLst>
              <a:ext uri="{FF2B5EF4-FFF2-40B4-BE49-F238E27FC236}">
                <a16:creationId xmlns:a16="http://schemas.microsoft.com/office/drawing/2014/main" id="{3952704B-368A-DE61-E747-1D4BBC4F42AA}"/>
              </a:ext>
            </a:extLst>
          </p:cNvPr>
          <p:cNvSpPr>
            <a:spLocks noGrp="1"/>
          </p:cNvSpPr>
          <p:nvPr userDrawn="1">
            <p:ph type="body" sz="quarter" idx="14"/>
          </p:nvPr>
        </p:nvSpPr>
        <p:spPr>
          <a:xfrm>
            <a:off x="6750588" y="1794618"/>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cxnSp>
        <p:nvCxnSpPr>
          <p:cNvPr id="4" name="Straight Connector 3">
            <a:extLst>
              <a:ext uri="{FF2B5EF4-FFF2-40B4-BE49-F238E27FC236}">
                <a16:creationId xmlns:a16="http://schemas.microsoft.com/office/drawing/2014/main" id="{B6B40C76-3F58-2EBC-81E1-360B2A80DFF6}"/>
              </a:ext>
            </a:extLst>
          </p:cNvPr>
          <p:cNvCxnSpPr>
            <a:cxnSpLocks/>
          </p:cNvCxnSpPr>
          <p:nvPr userDrawn="1"/>
        </p:nvCxnSpPr>
        <p:spPr>
          <a:xfrm>
            <a:off x="6096000" y="731520"/>
            <a:ext cx="563727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FC69D76-5279-ECCC-CCE4-79354438BDB5}"/>
              </a:ext>
            </a:extLst>
          </p:cNvPr>
          <p:cNvSpPr>
            <a:spLocks noGrp="1"/>
          </p:cNvSpPr>
          <p:nvPr>
            <p:ph type="body" sz="quarter" idx="18"/>
          </p:nvPr>
        </p:nvSpPr>
        <p:spPr>
          <a:xfrm>
            <a:off x="865762" y="1594563"/>
            <a:ext cx="4364476" cy="400110"/>
          </a:xfrm>
          <a:prstGeom prst="rect">
            <a:avLst/>
          </a:prstGeom>
        </p:spPr>
        <p:txBody>
          <a:bodyPr wrap="square">
            <a:spAutoFit/>
          </a:bodyPr>
          <a:lstStyle>
            <a:lvl1pPr marL="0" indent="0" algn="l">
              <a:lnSpc>
                <a:spcPct val="100000"/>
              </a:lnSpc>
              <a:spcBef>
                <a:spcPts val="0"/>
              </a:spcBef>
              <a:buNone/>
              <a:defRPr sz="2000" b="1">
                <a:solidFill>
                  <a:schemeClr val="accent2"/>
                </a:solidFill>
                <a:latin typeface="+mj-lt"/>
              </a:defRPr>
            </a:lvl1pPr>
          </a:lstStyle>
          <a:p>
            <a:pPr lvl="0"/>
            <a:endParaRPr lang="en-US"/>
          </a:p>
        </p:txBody>
      </p:sp>
      <p:sp>
        <p:nvSpPr>
          <p:cNvPr id="11" name="Rectangle: Rounded Corners 10">
            <a:extLst>
              <a:ext uri="{FF2B5EF4-FFF2-40B4-BE49-F238E27FC236}">
                <a16:creationId xmlns:a16="http://schemas.microsoft.com/office/drawing/2014/main" id="{5AB949BC-78B6-7A97-06FD-1A05AA5A4F5F}"/>
              </a:ext>
            </a:extLst>
          </p:cNvPr>
          <p:cNvSpPr/>
          <p:nvPr userDrawn="1"/>
        </p:nvSpPr>
        <p:spPr>
          <a:xfrm>
            <a:off x="6828409" y="1390182"/>
            <a:ext cx="996412" cy="3463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One</a:t>
            </a:r>
          </a:p>
        </p:txBody>
      </p:sp>
      <p:sp>
        <p:nvSpPr>
          <p:cNvPr id="17" name="Text Placeholder 7">
            <a:extLst>
              <a:ext uri="{FF2B5EF4-FFF2-40B4-BE49-F238E27FC236}">
                <a16:creationId xmlns:a16="http://schemas.microsoft.com/office/drawing/2014/main" id="{CED1B20A-FC75-6760-9BC5-48562491CF9E}"/>
              </a:ext>
            </a:extLst>
          </p:cNvPr>
          <p:cNvSpPr>
            <a:spLocks noGrp="1"/>
          </p:cNvSpPr>
          <p:nvPr>
            <p:ph type="body" sz="quarter" idx="19"/>
          </p:nvPr>
        </p:nvSpPr>
        <p:spPr>
          <a:xfrm>
            <a:off x="6750588" y="331665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18" name="Rectangle: Rounded Corners 17">
            <a:extLst>
              <a:ext uri="{FF2B5EF4-FFF2-40B4-BE49-F238E27FC236}">
                <a16:creationId xmlns:a16="http://schemas.microsoft.com/office/drawing/2014/main" id="{F8D5C1C1-F6FB-9AA3-A214-DC766DB82544}"/>
              </a:ext>
            </a:extLst>
          </p:cNvPr>
          <p:cNvSpPr/>
          <p:nvPr userDrawn="1"/>
        </p:nvSpPr>
        <p:spPr>
          <a:xfrm>
            <a:off x="6828409" y="2912220"/>
            <a:ext cx="996412" cy="34635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wo</a:t>
            </a:r>
          </a:p>
        </p:txBody>
      </p:sp>
      <p:sp>
        <p:nvSpPr>
          <p:cNvPr id="19" name="Text Placeholder 7">
            <a:extLst>
              <a:ext uri="{FF2B5EF4-FFF2-40B4-BE49-F238E27FC236}">
                <a16:creationId xmlns:a16="http://schemas.microsoft.com/office/drawing/2014/main" id="{78B71EFF-3361-06F3-0D3C-58C7704130AF}"/>
              </a:ext>
            </a:extLst>
          </p:cNvPr>
          <p:cNvSpPr>
            <a:spLocks noGrp="1"/>
          </p:cNvSpPr>
          <p:nvPr>
            <p:ph type="body" sz="quarter" idx="20"/>
          </p:nvPr>
        </p:nvSpPr>
        <p:spPr>
          <a:xfrm>
            <a:off x="6750588" y="4878716"/>
            <a:ext cx="4790561" cy="381002"/>
          </a:xfrm>
          <a:prstGeom prst="rect">
            <a:avLst/>
          </a:prstGeom>
        </p:spPr>
        <p:txBody>
          <a:bodyPr wrap="square" anchor="t" anchorCtr="0">
            <a:spAutoFit/>
          </a:bodyPr>
          <a:lstStyle>
            <a:lvl1pPr marL="0" indent="0" algn="l">
              <a:lnSpc>
                <a:spcPct val="110000"/>
              </a:lnSpc>
              <a:spcBef>
                <a:spcPts val="0"/>
              </a:spcBef>
              <a:buNone/>
              <a:defRPr sz="1800" b="0">
                <a:solidFill>
                  <a:schemeClr val="tx1"/>
                </a:solidFill>
                <a:latin typeface="+mn-lt"/>
              </a:defRPr>
            </a:lvl1pPr>
          </a:lstStyle>
          <a:p>
            <a:pPr lvl="0"/>
            <a:endParaRPr lang="en-US"/>
          </a:p>
        </p:txBody>
      </p:sp>
      <p:sp>
        <p:nvSpPr>
          <p:cNvPr id="20" name="Rectangle: Rounded Corners 19">
            <a:extLst>
              <a:ext uri="{FF2B5EF4-FFF2-40B4-BE49-F238E27FC236}">
                <a16:creationId xmlns:a16="http://schemas.microsoft.com/office/drawing/2014/main" id="{BD376073-0EFD-CECD-41ED-C35EF9D43844}"/>
              </a:ext>
            </a:extLst>
          </p:cNvPr>
          <p:cNvSpPr/>
          <p:nvPr userDrawn="1"/>
        </p:nvSpPr>
        <p:spPr>
          <a:xfrm>
            <a:off x="6828409" y="4474280"/>
            <a:ext cx="996412" cy="346355"/>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art Three</a:t>
            </a:r>
          </a:p>
        </p:txBody>
      </p:sp>
    </p:spTree>
    <p:extLst>
      <p:ext uri="{BB962C8B-B14F-4D97-AF65-F5344CB8AC3E}">
        <p14:creationId xmlns:p14="http://schemas.microsoft.com/office/powerpoint/2010/main" val="9185697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574375"/>
            <a:ext cx="4364476" cy="307777"/>
          </a:xfrm>
          <a:prstGeom prst="rect">
            <a:avLst/>
          </a:prstGeom>
        </p:spPr>
        <p:txBody>
          <a:bodyPr wrap="square" anchor="ctr" anchorCtr="0">
            <a:spAutoFit/>
          </a:bodyPr>
          <a:lstStyle>
            <a:lvl1pPr marL="0" indent="0" algn="l">
              <a:lnSpc>
                <a:spcPct val="100000"/>
              </a:lnSpc>
              <a:spcBef>
                <a:spcPts val="0"/>
              </a:spcBef>
              <a:buNone/>
              <a:defRPr sz="14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dirty="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Tree>
    <p:extLst>
      <p:ext uri="{BB962C8B-B14F-4D97-AF65-F5344CB8AC3E}">
        <p14:creationId xmlns:p14="http://schemas.microsoft.com/office/powerpoint/2010/main" val="37204569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ivide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DA5B9F3-7E4C-6A4A-CC33-4B285E1DBDEB}"/>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p:ph type="sldNum" sz="quarter" idx="10"/>
          </p:nvPr>
        </p:nvSpPr>
        <p:spPr>
          <a:xfrm>
            <a:off x="11541149" y="6284305"/>
            <a:ext cx="427419" cy="365125"/>
          </a:xfrm>
        </p:spPr>
        <p:txBody>
          <a:bodyPr/>
          <a:lstStyle>
            <a:lvl1pPr>
              <a:defRPr>
                <a:solidFill>
                  <a:schemeClr val="bg1"/>
                </a:solidFill>
              </a:defRPr>
            </a:lvl1p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p:ph type="body" sz="quarter" idx="11" hasCustomPrompt="1"/>
          </p:nvPr>
        </p:nvSpPr>
        <p:spPr>
          <a:xfrm>
            <a:off x="354011" y="369887"/>
            <a:ext cx="536585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flipV="1">
            <a:off x="458724" y="725487"/>
            <a:ext cx="5261140" cy="6033"/>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9" name="Text Placeholder 7">
            <a:extLst>
              <a:ext uri="{FF2B5EF4-FFF2-40B4-BE49-F238E27FC236}">
                <a16:creationId xmlns:a16="http://schemas.microsoft.com/office/drawing/2014/main" id="{4B3498E1-1431-439E-B804-BCA324290A68}"/>
              </a:ext>
            </a:extLst>
          </p:cNvPr>
          <p:cNvSpPr>
            <a:spLocks noGrp="1"/>
          </p:cNvSpPr>
          <p:nvPr>
            <p:ph type="body" sz="quarter" idx="12"/>
          </p:nvPr>
        </p:nvSpPr>
        <p:spPr>
          <a:xfrm>
            <a:off x="865762" y="1659244"/>
            <a:ext cx="4364476" cy="553998"/>
          </a:xfrm>
          <a:prstGeom prst="rect">
            <a:avLst/>
          </a:prstGeom>
        </p:spPr>
        <p:txBody>
          <a:bodyPr wrap="square">
            <a:spAutoFit/>
          </a:bodyPr>
          <a:lstStyle>
            <a:lvl1pPr marL="0" indent="0" algn="l">
              <a:lnSpc>
                <a:spcPct val="100000"/>
              </a:lnSpc>
              <a:spcBef>
                <a:spcPts val="0"/>
              </a:spcBef>
              <a:buNone/>
              <a:defRPr sz="3000" b="1">
                <a:solidFill>
                  <a:schemeClr val="tx2"/>
                </a:solidFill>
                <a:latin typeface="+mj-lt"/>
              </a:defRPr>
            </a:lvl1pPr>
          </a:lstStyle>
          <a:p>
            <a:pPr lvl="0"/>
            <a:endParaRPr lang="en-US"/>
          </a:p>
        </p:txBody>
      </p:sp>
      <p:pic>
        <p:nvPicPr>
          <p:cNvPr id="15" name="Graphic 14">
            <a:extLst>
              <a:ext uri="{FF2B5EF4-FFF2-40B4-BE49-F238E27FC236}">
                <a16:creationId xmlns:a16="http://schemas.microsoft.com/office/drawing/2014/main" id="{28E6D669-52CA-29EB-C274-44EFED4EC1F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36" y="6218795"/>
            <a:ext cx="1590581" cy="496145"/>
          </a:xfrm>
          <a:prstGeom prst="rect">
            <a:avLst/>
          </a:prstGeom>
        </p:spPr>
      </p:pic>
      <p:sp>
        <p:nvSpPr>
          <p:cNvPr id="43" name="Text Placeholder 7">
            <a:extLst>
              <a:ext uri="{FF2B5EF4-FFF2-40B4-BE49-F238E27FC236}">
                <a16:creationId xmlns:a16="http://schemas.microsoft.com/office/drawing/2014/main" id="{2BC1C74F-D68A-7FA5-EA0B-0E60135E82B8}"/>
              </a:ext>
            </a:extLst>
          </p:cNvPr>
          <p:cNvSpPr>
            <a:spLocks noGrp="1"/>
          </p:cNvSpPr>
          <p:nvPr>
            <p:ph type="body" sz="quarter" idx="15"/>
          </p:nvPr>
        </p:nvSpPr>
        <p:spPr>
          <a:xfrm>
            <a:off x="865762" y="2812534"/>
            <a:ext cx="4364476" cy="338554"/>
          </a:xfrm>
          <a:prstGeom prst="rect">
            <a:avLst/>
          </a:prstGeom>
        </p:spPr>
        <p:txBody>
          <a:bodyPr wrap="square" anchor="t" anchorCtr="0">
            <a:spAutoFit/>
          </a:bodyPr>
          <a:lstStyle>
            <a:lvl1pPr marL="0" indent="0" algn="l">
              <a:lnSpc>
                <a:spcPct val="100000"/>
              </a:lnSpc>
              <a:spcBef>
                <a:spcPts val="0"/>
              </a:spcBef>
              <a:buNone/>
              <a:defRPr sz="1600" b="0">
                <a:solidFill>
                  <a:schemeClr val="tx1"/>
                </a:solidFill>
                <a:latin typeface="+mn-lt"/>
              </a:defRPr>
            </a:lvl1pPr>
          </a:lstStyle>
          <a:p>
            <a:pPr lvl="0"/>
            <a:endParaRPr lang="en-US"/>
          </a:p>
        </p:txBody>
      </p:sp>
      <p:sp>
        <p:nvSpPr>
          <p:cNvPr id="8" name="TextBox 7">
            <a:extLst>
              <a:ext uri="{FF2B5EF4-FFF2-40B4-BE49-F238E27FC236}">
                <a16:creationId xmlns:a16="http://schemas.microsoft.com/office/drawing/2014/main" id="{A96B454C-4358-9A5A-0880-6EA1F7EB318D}"/>
              </a:ext>
            </a:extLst>
          </p:cNvPr>
          <p:cNvSpPr txBox="1"/>
          <p:nvPr userDrawn="1"/>
        </p:nvSpPr>
        <p:spPr>
          <a:xfrm>
            <a:off x="7614288" y="6343757"/>
            <a:ext cx="3966703" cy="246221"/>
          </a:xfrm>
          <a:prstGeom prst="rect">
            <a:avLst/>
          </a:prstGeom>
          <a:noFill/>
        </p:spPr>
        <p:txBody>
          <a:bodyPr wrap="square" lIns="91440" tIns="45720" rIns="91440" bIns="45720" rtlCol="0">
            <a:spAutoFit/>
          </a:bodyPr>
          <a:lstStyle/>
          <a:p>
            <a:pPr algn="r"/>
            <a:r>
              <a:rPr lang="en-US" sz="1000" dirty="0">
                <a:solidFill>
                  <a:schemeClr val="bg1"/>
                </a:solidFill>
                <a:latin typeface="+mn-lt"/>
              </a:rPr>
              <a:t>Confidential to Members of The Recycling Partnership</a:t>
            </a:r>
          </a:p>
        </p:txBody>
      </p:sp>
      <p:cxnSp>
        <p:nvCxnSpPr>
          <p:cNvPr id="11" name="Straight Connector 10">
            <a:extLst>
              <a:ext uri="{FF2B5EF4-FFF2-40B4-BE49-F238E27FC236}">
                <a16:creationId xmlns:a16="http://schemas.microsoft.com/office/drawing/2014/main" id="{82FDDC29-F374-DA64-4E0A-1212B2C13E4D}"/>
              </a:ext>
            </a:extLst>
          </p:cNvPr>
          <p:cNvCxnSpPr>
            <a:cxnSpLocks/>
          </p:cNvCxnSpPr>
          <p:nvPr userDrawn="1"/>
        </p:nvCxnSpPr>
        <p:spPr>
          <a:xfrm>
            <a:off x="11558587" y="6409717"/>
            <a:ext cx="0" cy="1143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82E6CCE5-1469-A9F0-147C-46E3D0C70EF8}"/>
              </a:ext>
            </a:extLst>
          </p:cNvPr>
          <p:cNvSpPr>
            <a:spLocks noGrp="1"/>
          </p:cNvSpPr>
          <p:nvPr>
            <p:ph type="body" sz="quarter" idx="18"/>
          </p:nvPr>
        </p:nvSpPr>
        <p:spPr>
          <a:xfrm>
            <a:off x="865762" y="1244967"/>
            <a:ext cx="4364476" cy="369332"/>
          </a:xfrm>
          <a:prstGeom prst="rect">
            <a:avLst/>
          </a:prstGeom>
        </p:spPr>
        <p:txBody>
          <a:bodyPr wrap="square">
            <a:spAutoFit/>
          </a:bodyPr>
          <a:lstStyle>
            <a:lvl1pPr marL="0" indent="0" algn="l">
              <a:lnSpc>
                <a:spcPct val="100000"/>
              </a:lnSpc>
              <a:spcBef>
                <a:spcPts val="0"/>
              </a:spcBef>
              <a:buNone/>
              <a:defRPr sz="1800" b="1">
                <a:solidFill>
                  <a:schemeClr val="accent1"/>
                </a:solidFill>
                <a:latin typeface="+mj-lt"/>
              </a:defRPr>
            </a:lvl1pPr>
          </a:lstStyle>
          <a:p>
            <a:pPr lvl="0"/>
            <a:endParaRPr lang="en-US"/>
          </a:p>
        </p:txBody>
      </p:sp>
      <p:sp>
        <p:nvSpPr>
          <p:cNvPr id="2" name="Rectangle 1">
            <a:extLst>
              <a:ext uri="{FF2B5EF4-FFF2-40B4-BE49-F238E27FC236}">
                <a16:creationId xmlns:a16="http://schemas.microsoft.com/office/drawing/2014/main" id="{48560333-1FD5-3D91-F24C-0EC1C3428C69}"/>
              </a:ext>
            </a:extLst>
          </p:cNvPr>
          <p:cNvSpPr/>
          <p:nvPr userDrawn="1"/>
        </p:nvSpPr>
        <p:spPr>
          <a:xfrm>
            <a:off x="0" y="4218112"/>
            <a:ext cx="6096000" cy="2639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7">
            <a:extLst>
              <a:ext uri="{FF2B5EF4-FFF2-40B4-BE49-F238E27FC236}">
                <a16:creationId xmlns:a16="http://schemas.microsoft.com/office/drawing/2014/main" id="{79B1A5AD-E1CF-D826-29DE-10FE11A6EAE2}"/>
              </a:ext>
            </a:extLst>
          </p:cNvPr>
          <p:cNvSpPr>
            <a:spLocks noGrp="1"/>
          </p:cNvSpPr>
          <p:nvPr>
            <p:ph type="body" sz="quarter" idx="19"/>
          </p:nvPr>
        </p:nvSpPr>
        <p:spPr>
          <a:xfrm>
            <a:off x="560264"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7" name="Text Placeholder 7">
            <a:extLst>
              <a:ext uri="{FF2B5EF4-FFF2-40B4-BE49-F238E27FC236}">
                <a16:creationId xmlns:a16="http://schemas.microsoft.com/office/drawing/2014/main" id="{7F1A33B8-DA79-66AD-4075-029620EB7805}"/>
              </a:ext>
            </a:extLst>
          </p:cNvPr>
          <p:cNvSpPr>
            <a:spLocks noGrp="1"/>
          </p:cNvSpPr>
          <p:nvPr>
            <p:ph type="body" sz="quarter" idx="20"/>
          </p:nvPr>
        </p:nvSpPr>
        <p:spPr>
          <a:xfrm>
            <a:off x="45713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7" name="Text Placeholder 7">
            <a:extLst>
              <a:ext uri="{FF2B5EF4-FFF2-40B4-BE49-F238E27FC236}">
                <a16:creationId xmlns:a16="http://schemas.microsoft.com/office/drawing/2014/main" id="{296A4797-99E8-955A-A4A2-6E5E26A8F3B8}"/>
              </a:ext>
            </a:extLst>
          </p:cNvPr>
          <p:cNvSpPr>
            <a:spLocks noGrp="1"/>
          </p:cNvSpPr>
          <p:nvPr>
            <p:ph type="body" sz="quarter" idx="24"/>
          </p:nvPr>
        </p:nvSpPr>
        <p:spPr>
          <a:xfrm>
            <a:off x="416485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18" name="Text Placeholder 7">
            <a:extLst>
              <a:ext uri="{FF2B5EF4-FFF2-40B4-BE49-F238E27FC236}">
                <a16:creationId xmlns:a16="http://schemas.microsoft.com/office/drawing/2014/main" id="{5689A97D-6AA7-A6E9-8332-8E6EEC5E0910}"/>
              </a:ext>
            </a:extLst>
          </p:cNvPr>
          <p:cNvSpPr>
            <a:spLocks noGrp="1"/>
          </p:cNvSpPr>
          <p:nvPr>
            <p:ph type="body" sz="quarter" idx="25"/>
          </p:nvPr>
        </p:nvSpPr>
        <p:spPr>
          <a:xfrm>
            <a:off x="426798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
        <p:nvSpPr>
          <p:cNvPr id="19" name="Text Placeholder 7">
            <a:extLst>
              <a:ext uri="{FF2B5EF4-FFF2-40B4-BE49-F238E27FC236}">
                <a16:creationId xmlns:a16="http://schemas.microsoft.com/office/drawing/2014/main" id="{2F7C3C95-1419-EBCA-6318-90CBF363970F}"/>
              </a:ext>
            </a:extLst>
          </p:cNvPr>
          <p:cNvSpPr>
            <a:spLocks noGrp="1"/>
          </p:cNvSpPr>
          <p:nvPr>
            <p:ph type="body" sz="quarter" idx="26"/>
          </p:nvPr>
        </p:nvSpPr>
        <p:spPr>
          <a:xfrm>
            <a:off x="2308066" y="5483200"/>
            <a:ext cx="1479868" cy="276999"/>
          </a:xfrm>
          <a:prstGeom prst="rect">
            <a:avLst/>
          </a:prstGeom>
        </p:spPr>
        <p:txBody>
          <a:bodyPr wrap="square">
            <a:spAutoFit/>
          </a:bodyPr>
          <a:lstStyle>
            <a:lvl1pPr marL="0" indent="0" algn="ctr">
              <a:lnSpc>
                <a:spcPct val="100000"/>
              </a:lnSpc>
              <a:spcBef>
                <a:spcPts val="0"/>
              </a:spcBef>
              <a:buNone/>
              <a:defRPr sz="1200" b="1">
                <a:solidFill>
                  <a:schemeClr val="bg1"/>
                </a:solidFill>
                <a:latin typeface="+mj-lt"/>
              </a:defRPr>
            </a:lvl1pPr>
          </a:lstStyle>
          <a:p>
            <a:pPr lvl="0"/>
            <a:endParaRPr lang="en-US"/>
          </a:p>
        </p:txBody>
      </p:sp>
      <p:sp>
        <p:nvSpPr>
          <p:cNvPr id="20" name="Text Placeholder 7">
            <a:extLst>
              <a:ext uri="{FF2B5EF4-FFF2-40B4-BE49-F238E27FC236}">
                <a16:creationId xmlns:a16="http://schemas.microsoft.com/office/drawing/2014/main" id="{E056A348-DCC8-C650-DD74-D71018FC8F04}"/>
              </a:ext>
            </a:extLst>
          </p:cNvPr>
          <p:cNvSpPr>
            <a:spLocks noGrp="1"/>
          </p:cNvSpPr>
          <p:nvPr>
            <p:ph type="body" sz="quarter" idx="27"/>
          </p:nvPr>
        </p:nvSpPr>
        <p:spPr>
          <a:xfrm>
            <a:off x="2411193" y="5852887"/>
            <a:ext cx="1273614" cy="153888"/>
          </a:xfrm>
          <a:prstGeom prst="rect">
            <a:avLst/>
          </a:prstGeom>
        </p:spPr>
        <p:txBody>
          <a:bodyPr wrap="square" lIns="0" tIns="0" rIns="0" bIns="0" anchor="t" anchorCtr="0">
            <a:spAutoFit/>
          </a:bodyPr>
          <a:lstStyle>
            <a:lvl1pPr marL="0" indent="0" algn="ctr">
              <a:lnSpc>
                <a:spcPct val="100000"/>
              </a:lnSpc>
              <a:spcBef>
                <a:spcPts val="0"/>
              </a:spcBef>
              <a:buNone/>
              <a:defRPr sz="1000" b="0">
                <a:solidFill>
                  <a:schemeClr val="bg1"/>
                </a:solidFill>
                <a:latin typeface="+mn-lt"/>
              </a:defRPr>
            </a:lvl1pPr>
          </a:lstStyle>
          <a:p>
            <a:pPr lvl="0"/>
            <a:endParaRPr lang="en-US"/>
          </a:p>
        </p:txBody>
      </p:sp>
    </p:spTree>
    <p:extLst>
      <p:ext uri="{BB962C8B-B14F-4D97-AF65-F5344CB8AC3E}">
        <p14:creationId xmlns:p14="http://schemas.microsoft.com/office/powerpoint/2010/main" val="6858899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1277904"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1277904" y="3036292"/>
            <a:ext cx="2970277"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1544798"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1517893"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0" name="Rectangle 9">
            <a:extLst>
              <a:ext uri="{FF2B5EF4-FFF2-40B4-BE49-F238E27FC236}">
                <a16:creationId xmlns:a16="http://schemas.microsoft.com/office/drawing/2014/main" id="{6E3D3E23-32AA-DE51-6F5A-20E45483333C}"/>
              </a:ext>
            </a:extLst>
          </p:cNvPr>
          <p:cNvSpPr/>
          <p:nvPr userDrawn="1"/>
        </p:nvSpPr>
        <p:spPr>
          <a:xfrm>
            <a:off x="4610861"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E575460-E652-2D83-01C3-BF0474493CB6}"/>
              </a:ext>
            </a:extLst>
          </p:cNvPr>
          <p:cNvSpPr/>
          <p:nvPr userDrawn="1"/>
        </p:nvSpPr>
        <p:spPr>
          <a:xfrm>
            <a:off x="4610861" y="3036292"/>
            <a:ext cx="2970277"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7">
            <a:extLst>
              <a:ext uri="{FF2B5EF4-FFF2-40B4-BE49-F238E27FC236}">
                <a16:creationId xmlns:a16="http://schemas.microsoft.com/office/drawing/2014/main" id="{F47A482C-5B81-E3D6-154E-BF9B45CDF02E}"/>
              </a:ext>
            </a:extLst>
          </p:cNvPr>
          <p:cNvSpPr>
            <a:spLocks noGrp="1"/>
          </p:cNvSpPr>
          <p:nvPr>
            <p:ph type="body" sz="quarter" idx="16"/>
          </p:nvPr>
        </p:nvSpPr>
        <p:spPr>
          <a:xfrm>
            <a:off x="4877755"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4" name="Text Placeholder 7">
            <a:extLst>
              <a:ext uri="{FF2B5EF4-FFF2-40B4-BE49-F238E27FC236}">
                <a16:creationId xmlns:a16="http://schemas.microsoft.com/office/drawing/2014/main" id="{0C5054D3-4D66-B0E0-1A91-47F28B3D7ECD}"/>
              </a:ext>
            </a:extLst>
          </p:cNvPr>
          <p:cNvSpPr>
            <a:spLocks noGrp="1"/>
          </p:cNvSpPr>
          <p:nvPr>
            <p:ph type="body" sz="quarter" idx="17"/>
          </p:nvPr>
        </p:nvSpPr>
        <p:spPr>
          <a:xfrm>
            <a:off x="4850850"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15" name="Rectangle 14">
            <a:extLst>
              <a:ext uri="{FF2B5EF4-FFF2-40B4-BE49-F238E27FC236}">
                <a16:creationId xmlns:a16="http://schemas.microsoft.com/office/drawing/2014/main" id="{3F5DAF09-56FD-332F-0E73-565A8F27A8EA}"/>
              </a:ext>
            </a:extLst>
          </p:cNvPr>
          <p:cNvSpPr/>
          <p:nvPr userDrawn="1"/>
        </p:nvSpPr>
        <p:spPr>
          <a:xfrm>
            <a:off x="7943819" y="3818889"/>
            <a:ext cx="2970277"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B27FFB5-95AD-34D3-6537-CC41516AD206}"/>
              </a:ext>
            </a:extLst>
          </p:cNvPr>
          <p:cNvSpPr/>
          <p:nvPr userDrawn="1"/>
        </p:nvSpPr>
        <p:spPr>
          <a:xfrm>
            <a:off x="7943819" y="3036292"/>
            <a:ext cx="2970277"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7">
            <a:extLst>
              <a:ext uri="{FF2B5EF4-FFF2-40B4-BE49-F238E27FC236}">
                <a16:creationId xmlns:a16="http://schemas.microsoft.com/office/drawing/2014/main" id="{F2F8824C-9CAB-131A-DE2A-AE4832A795AB}"/>
              </a:ext>
            </a:extLst>
          </p:cNvPr>
          <p:cNvSpPr>
            <a:spLocks noGrp="1"/>
          </p:cNvSpPr>
          <p:nvPr>
            <p:ph type="body" sz="quarter" idx="18"/>
          </p:nvPr>
        </p:nvSpPr>
        <p:spPr>
          <a:xfrm>
            <a:off x="8210713" y="4035716"/>
            <a:ext cx="2436488" cy="22448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400" b="0">
                <a:solidFill>
                  <a:schemeClr val="tx1"/>
                </a:solidFill>
                <a:latin typeface="+mn-lt"/>
              </a:defRPr>
            </a:lvl1pPr>
          </a:lstStyle>
          <a:p>
            <a:pPr lvl="0"/>
            <a:endParaRPr lang="en-US"/>
          </a:p>
        </p:txBody>
      </p:sp>
      <p:sp>
        <p:nvSpPr>
          <p:cNvPr id="19" name="Text Placeholder 7">
            <a:extLst>
              <a:ext uri="{FF2B5EF4-FFF2-40B4-BE49-F238E27FC236}">
                <a16:creationId xmlns:a16="http://schemas.microsoft.com/office/drawing/2014/main" id="{85BE3C48-B8A0-D8BD-F575-9D99340A862D}"/>
              </a:ext>
            </a:extLst>
          </p:cNvPr>
          <p:cNvSpPr>
            <a:spLocks noGrp="1"/>
          </p:cNvSpPr>
          <p:nvPr>
            <p:ph type="body" sz="quarter" idx="19"/>
          </p:nvPr>
        </p:nvSpPr>
        <p:spPr>
          <a:xfrm>
            <a:off x="8183808" y="3253119"/>
            <a:ext cx="2490298"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21" name="Picture Placeholder 20">
            <a:extLst>
              <a:ext uri="{FF2B5EF4-FFF2-40B4-BE49-F238E27FC236}">
                <a16:creationId xmlns:a16="http://schemas.microsoft.com/office/drawing/2014/main" id="{1CA8DDE7-587C-F513-9393-12B07FF5433F}"/>
              </a:ext>
            </a:extLst>
          </p:cNvPr>
          <p:cNvSpPr>
            <a:spLocks noGrp="1"/>
          </p:cNvSpPr>
          <p:nvPr>
            <p:ph type="pic" sz="quarter" idx="20"/>
          </p:nvPr>
        </p:nvSpPr>
        <p:spPr>
          <a:xfrm>
            <a:off x="1277938" y="1210004"/>
            <a:ext cx="2970212" cy="1828800"/>
          </a:xfrm>
          <a:prstGeom prst="rect">
            <a:avLst/>
          </a:prstGeom>
        </p:spPr>
        <p:txBody>
          <a:bodyPr/>
          <a:lstStyle/>
          <a:p>
            <a:endParaRPr lang="en-US" dirty="0"/>
          </a:p>
        </p:txBody>
      </p:sp>
      <p:sp>
        <p:nvSpPr>
          <p:cNvPr id="22" name="Picture Placeholder 20">
            <a:extLst>
              <a:ext uri="{FF2B5EF4-FFF2-40B4-BE49-F238E27FC236}">
                <a16:creationId xmlns:a16="http://schemas.microsoft.com/office/drawing/2014/main" id="{34F27FC6-05F6-3590-A12A-885B7C83BCB0}"/>
              </a:ext>
            </a:extLst>
          </p:cNvPr>
          <p:cNvSpPr>
            <a:spLocks noGrp="1"/>
          </p:cNvSpPr>
          <p:nvPr>
            <p:ph type="pic" sz="quarter" idx="21"/>
          </p:nvPr>
        </p:nvSpPr>
        <p:spPr>
          <a:xfrm>
            <a:off x="4610926" y="1210004"/>
            <a:ext cx="2970212" cy="1828800"/>
          </a:xfrm>
          <a:prstGeom prst="rect">
            <a:avLst/>
          </a:prstGeom>
        </p:spPr>
        <p:txBody>
          <a:bodyPr/>
          <a:lstStyle/>
          <a:p>
            <a:endParaRPr lang="en-US" dirty="0"/>
          </a:p>
        </p:txBody>
      </p:sp>
      <p:sp>
        <p:nvSpPr>
          <p:cNvPr id="23" name="Picture Placeholder 20">
            <a:extLst>
              <a:ext uri="{FF2B5EF4-FFF2-40B4-BE49-F238E27FC236}">
                <a16:creationId xmlns:a16="http://schemas.microsoft.com/office/drawing/2014/main" id="{6662E003-83C4-5AAC-D61C-DA4FDFDA54F9}"/>
              </a:ext>
            </a:extLst>
          </p:cNvPr>
          <p:cNvSpPr>
            <a:spLocks noGrp="1"/>
          </p:cNvSpPr>
          <p:nvPr>
            <p:ph type="pic" sz="quarter" idx="22"/>
          </p:nvPr>
        </p:nvSpPr>
        <p:spPr>
          <a:xfrm>
            <a:off x="7943819" y="1210004"/>
            <a:ext cx="2970211" cy="1828800"/>
          </a:xfrm>
          <a:prstGeom prst="rect">
            <a:avLst/>
          </a:prstGeom>
        </p:spPr>
        <p:txBody>
          <a:bodyPr/>
          <a:lstStyle/>
          <a:p>
            <a:endParaRPr lang="en-US" dirty="0"/>
          </a:p>
        </p:txBody>
      </p:sp>
    </p:spTree>
    <p:extLst>
      <p:ext uri="{BB962C8B-B14F-4D97-AF65-F5344CB8AC3E}">
        <p14:creationId xmlns:p14="http://schemas.microsoft.com/office/powerpoint/2010/main" val="5744770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icture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FF8598-4A73-B87D-8511-B9C051904D29}"/>
              </a:ext>
            </a:extLst>
          </p:cNvPr>
          <p:cNvSpPr/>
          <p:nvPr userDrawn="1"/>
        </p:nvSpPr>
        <p:spPr>
          <a:xfrm>
            <a:off x="725423"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B14BAEF-6414-F29F-20C3-6435C3B6E3F5}"/>
              </a:ext>
            </a:extLst>
          </p:cNvPr>
          <p:cNvSpPr/>
          <p:nvPr userDrawn="1"/>
        </p:nvSpPr>
        <p:spPr>
          <a:xfrm>
            <a:off x="725423" y="2995017"/>
            <a:ext cx="2446401" cy="7825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1AF0951B-AB25-7F38-17CA-FB08013403C3}"/>
              </a:ext>
            </a:extLst>
          </p:cNvPr>
          <p:cNvSpPr/>
          <p:nvPr userDrawn="1"/>
        </p:nvSpPr>
        <p:spPr>
          <a:xfrm>
            <a:off x="3379851"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234A6D29-1770-B166-4662-ACE950971710}"/>
              </a:ext>
            </a:extLst>
          </p:cNvPr>
          <p:cNvSpPr/>
          <p:nvPr userDrawn="1"/>
        </p:nvSpPr>
        <p:spPr>
          <a:xfrm>
            <a:off x="3379851" y="2995017"/>
            <a:ext cx="2446401" cy="782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66374C75-941E-0777-32A1-3D82ED42E1FD}"/>
              </a:ext>
            </a:extLst>
          </p:cNvPr>
          <p:cNvSpPr/>
          <p:nvPr userDrawn="1"/>
        </p:nvSpPr>
        <p:spPr>
          <a:xfrm>
            <a:off x="6096000"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53EDEC89-A0BA-A86D-CE6C-81828F6C029C}"/>
              </a:ext>
            </a:extLst>
          </p:cNvPr>
          <p:cNvSpPr/>
          <p:nvPr userDrawn="1"/>
        </p:nvSpPr>
        <p:spPr>
          <a:xfrm>
            <a:off x="6096000" y="2995017"/>
            <a:ext cx="2446401" cy="7825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6EF4C9DC-D0F7-1962-7A92-BB1F2F6BFF42}"/>
              </a:ext>
            </a:extLst>
          </p:cNvPr>
          <p:cNvSpPr/>
          <p:nvPr userDrawn="1"/>
        </p:nvSpPr>
        <p:spPr>
          <a:xfrm>
            <a:off x="9020176" y="3777614"/>
            <a:ext cx="2446401" cy="19278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a:extLst>
              <a:ext uri="{FF2B5EF4-FFF2-40B4-BE49-F238E27FC236}">
                <a16:creationId xmlns:a16="http://schemas.microsoft.com/office/drawing/2014/main" id="{497A4B90-3BDB-5CE1-837E-737ADDD33C47}"/>
              </a:ext>
            </a:extLst>
          </p:cNvPr>
          <p:cNvSpPr/>
          <p:nvPr userDrawn="1"/>
        </p:nvSpPr>
        <p:spPr>
          <a:xfrm>
            <a:off x="9020176" y="2995017"/>
            <a:ext cx="2446401" cy="782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C64128BF-6BFC-5D20-8A73-DC580CB79DF0}"/>
              </a:ext>
            </a:extLst>
          </p:cNvPr>
          <p:cNvSpPr>
            <a:spLocks noGrp="1"/>
          </p:cNvSpPr>
          <p:nvPr userDrawn="1">
            <p:ph type="sldNum" sz="quarter" idx="10"/>
          </p:nvPr>
        </p:nvSpPr>
        <p:spPr>
          <a:xfrm>
            <a:off x="11541149" y="6284305"/>
            <a:ext cx="427419" cy="365125"/>
          </a:xfrm>
        </p:spPr>
        <p:txBody>
          <a:bodyPr/>
          <a:lstStyle/>
          <a:p>
            <a:fld id="{6CC2FB7E-E9FD-AA44-8101-F627C1923673}" type="slidenum">
              <a:rPr lang="en-US" smtClean="0"/>
              <a:pPr/>
              <a:t>‹#›</a:t>
            </a:fld>
            <a:endParaRPr lang="en-US" dirty="0"/>
          </a:p>
        </p:txBody>
      </p:sp>
      <p:sp>
        <p:nvSpPr>
          <p:cNvPr id="5" name="Text Placeholder 4">
            <a:extLst>
              <a:ext uri="{FF2B5EF4-FFF2-40B4-BE49-F238E27FC236}">
                <a16:creationId xmlns:a16="http://schemas.microsoft.com/office/drawing/2014/main" id="{CF15A299-5F85-259C-C76B-A026AFD1A11E}"/>
              </a:ext>
            </a:extLst>
          </p:cNvPr>
          <p:cNvSpPr>
            <a:spLocks noGrp="1"/>
          </p:cNvSpPr>
          <p:nvPr userDrawn="1">
            <p:ph type="body" sz="quarter" idx="11" hasCustomPrompt="1"/>
          </p:nvPr>
        </p:nvSpPr>
        <p:spPr>
          <a:xfrm>
            <a:off x="354011" y="369887"/>
            <a:ext cx="10895013" cy="355600"/>
          </a:xfrm>
          <a:prstGeom prst="rect">
            <a:avLst/>
          </a:prstGeom>
        </p:spPr>
        <p:txBody>
          <a:bodyPr/>
          <a:lstStyle>
            <a:lvl1pPr marL="0" indent="0">
              <a:buNone/>
              <a:defRPr sz="1600" b="1">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a:t>
            </a:r>
          </a:p>
        </p:txBody>
      </p:sp>
      <p:cxnSp>
        <p:nvCxnSpPr>
          <p:cNvPr id="6" name="Straight Connector 5">
            <a:extLst>
              <a:ext uri="{FF2B5EF4-FFF2-40B4-BE49-F238E27FC236}">
                <a16:creationId xmlns:a16="http://schemas.microsoft.com/office/drawing/2014/main" id="{CA440A60-F3F8-5FAC-D46A-E1DFBB24BE11}"/>
              </a:ext>
            </a:extLst>
          </p:cNvPr>
          <p:cNvCxnSpPr>
            <a:cxnSpLocks/>
          </p:cNvCxnSpPr>
          <p:nvPr userDrawn="1"/>
        </p:nvCxnSpPr>
        <p:spPr>
          <a:xfrm>
            <a:off x="458724" y="731520"/>
            <a:ext cx="1127455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F98E97C-B646-7603-048E-5A254B7D2EB5}"/>
              </a:ext>
            </a:extLst>
          </p:cNvPr>
          <p:cNvSpPr>
            <a:spLocks noGrp="1"/>
          </p:cNvSpPr>
          <p:nvPr userDrawn="1">
            <p:ph type="body" sz="quarter" idx="15"/>
          </p:nvPr>
        </p:nvSpPr>
        <p:spPr>
          <a:xfrm>
            <a:off x="945244"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7" name="Text Placeholder 7">
            <a:extLst>
              <a:ext uri="{FF2B5EF4-FFF2-40B4-BE49-F238E27FC236}">
                <a16:creationId xmlns:a16="http://schemas.microsoft.com/office/drawing/2014/main" id="{FA99FF79-9C91-E84F-5BB3-068997744F8C}"/>
              </a:ext>
            </a:extLst>
          </p:cNvPr>
          <p:cNvSpPr>
            <a:spLocks noGrp="1"/>
          </p:cNvSpPr>
          <p:nvPr userDrawn="1">
            <p:ph type="body" sz="quarter" idx="14"/>
          </p:nvPr>
        </p:nvSpPr>
        <p:spPr>
          <a:xfrm>
            <a:off x="923085"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tx1"/>
                </a:solidFill>
                <a:latin typeface="+mn-lt"/>
              </a:defRPr>
            </a:lvl1pPr>
          </a:lstStyle>
          <a:p>
            <a:pPr lvl="0"/>
            <a:endParaRPr lang="en-US"/>
          </a:p>
        </p:txBody>
      </p:sp>
      <p:sp>
        <p:nvSpPr>
          <p:cNvPr id="63" name="Text Placeholder 7">
            <a:extLst>
              <a:ext uri="{FF2B5EF4-FFF2-40B4-BE49-F238E27FC236}">
                <a16:creationId xmlns:a16="http://schemas.microsoft.com/office/drawing/2014/main" id="{89A7A8A9-F97D-6A00-6DAD-8F8AF46B9A12}"/>
              </a:ext>
            </a:extLst>
          </p:cNvPr>
          <p:cNvSpPr>
            <a:spLocks noGrp="1"/>
          </p:cNvSpPr>
          <p:nvPr>
            <p:ph type="body" sz="quarter" idx="16"/>
          </p:nvPr>
        </p:nvSpPr>
        <p:spPr>
          <a:xfrm>
            <a:off x="3599672"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4" name="Text Placeholder 7">
            <a:extLst>
              <a:ext uri="{FF2B5EF4-FFF2-40B4-BE49-F238E27FC236}">
                <a16:creationId xmlns:a16="http://schemas.microsoft.com/office/drawing/2014/main" id="{7D08AFF0-523A-0490-3F35-9326651B0C19}"/>
              </a:ext>
            </a:extLst>
          </p:cNvPr>
          <p:cNvSpPr>
            <a:spLocks noGrp="1"/>
          </p:cNvSpPr>
          <p:nvPr>
            <p:ph type="body" sz="quarter" idx="17"/>
          </p:nvPr>
        </p:nvSpPr>
        <p:spPr>
          <a:xfrm>
            <a:off x="3577513"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5" name="Text Placeholder 7">
            <a:extLst>
              <a:ext uri="{FF2B5EF4-FFF2-40B4-BE49-F238E27FC236}">
                <a16:creationId xmlns:a16="http://schemas.microsoft.com/office/drawing/2014/main" id="{488AB44C-201C-AFA4-B04F-F5F452276B7E}"/>
              </a:ext>
            </a:extLst>
          </p:cNvPr>
          <p:cNvSpPr>
            <a:spLocks noGrp="1"/>
          </p:cNvSpPr>
          <p:nvPr>
            <p:ph type="body" sz="quarter" idx="18"/>
          </p:nvPr>
        </p:nvSpPr>
        <p:spPr>
          <a:xfrm>
            <a:off x="6315821"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6" name="Text Placeholder 7">
            <a:extLst>
              <a:ext uri="{FF2B5EF4-FFF2-40B4-BE49-F238E27FC236}">
                <a16:creationId xmlns:a16="http://schemas.microsoft.com/office/drawing/2014/main" id="{D9C06F46-3FFF-4482-4493-BED8117A8D48}"/>
              </a:ext>
            </a:extLst>
          </p:cNvPr>
          <p:cNvSpPr>
            <a:spLocks noGrp="1"/>
          </p:cNvSpPr>
          <p:nvPr>
            <p:ph type="body" sz="quarter" idx="19"/>
          </p:nvPr>
        </p:nvSpPr>
        <p:spPr>
          <a:xfrm>
            <a:off x="6293662"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
        <p:nvSpPr>
          <p:cNvPr id="67" name="Text Placeholder 7">
            <a:extLst>
              <a:ext uri="{FF2B5EF4-FFF2-40B4-BE49-F238E27FC236}">
                <a16:creationId xmlns:a16="http://schemas.microsoft.com/office/drawing/2014/main" id="{2AFB12A2-230F-3B1E-E6F0-A27FEDF46041}"/>
              </a:ext>
            </a:extLst>
          </p:cNvPr>
          <p:cNvSpPr>
            <a:spLocks noGrp="1"/>
          </p:cNvSpPr>
          <p:nvPr>
            <p:ph type="body" sz="quarter" idx="20"/>
          </p:nvPr>
        </p:nvSpPr>
        <p:spPr>
          <a:xfrm>
            <a:off x="9239997" y="3994441"/>
            <a:ext cx="2006758" cy="192425"/>
          </a:xfrm>
          <a:prstGeom prst="rect">
            <a:avLst/>
          </a:prstGeom>
        </p:spPr>
        <p:txBody>
          <a:bodyPr wrap="square" lIns="0" tIns="0" rIns="0" bIns="0" anchor="t" anchorCtr="0">
            <a:spAutoFit/>
          </a:bodyPr>
          <a:lstStyle>
            <a:lvl1pPr marL="118872" indent="-118872" algn="l">
              <a:lnSpc>
                <a:spcPct val="110000"/>
              </a:lnSpc>
              <a:spcBef>
                <a:spcPts val="0"/>
              </a:spcBef>
              <a:buFont typeface="Arial" panose="020B0604020202020204" pitchFamily="34" charset="0"/>
              <a:buChar char="•"/>
              <a:defRPr sz="1200" b="0">
                <a:solidFill>
                  <a:schemeClr val="tx1"/>
                </a:solidFill>
                <a:latin typeface="+mn-lt"/>
              </a:defRPr>
            </a:lvl1pPr>
          </a:lstStyle>
          <a:p>
            <a:pPr lvl="0"/>
            <a:endParaRPr lang="en-US"/>
          </a:p>
        </p:txBody>
      </p:sp>
      <p:sp>
        <p:nvSpPr>
          <p:cNvPr id="68" name="Text Placeholder 7">
            <a:extLst>
              <a:ext uri="{FF2B5EF4-FFF2-40B4-BE49-F238E27FC236}">
                <a16:creationId xmlns:a16="http://schemas.microsoft.com/office/drawing/2014/main" id="{A5A0F647-551C-B9E9-7987-3AB0F1D80F6A}"/>
              </a:ext>
            </a:extLst>
          </p:cNvPr>
          <p:cNvSpPr>
            <a:spLocks noGrp="1"/>
          </p:cNvSpPr>
          <p:nvPr>
            <p:ph type="body" sz="quarter" idx="21"/>
          </p:nvPr>
        </p:nvSpPr>
        <p:spPr>
          <a:xfrm>
            <a:off x="9217838" y="3211844"/>
            <a:ext cx="2051077" cy="348942"/>
          </a:xfrm>
          <a:prstGeom prst="rect">
            <a:avLst/>
          </a:prstGeom>
        </p:spPr>
        <p:txBody>
          <a:bodyPr wrap="square" anchor="ctr" anchorCtr="0">
            <a:spAutoFit/>
          </a:bodyPr>
          <a:lstStyle>
            <a:lvl1pPr marL="0" indent="0" algn="ctr">
              <a:lnSpc>
                <a:spcPct val="110000"/>
              </a:lnSpc>
              <a:spcBef>
                <a:spcPts val="0"/>
              </a:spcBef>
              <a:buNone/>
              <a:defRPr sz="1600" b="1">
                <a:solidFill>
                  <a:schemeClr val="bg1"/>
                </a:solidFill>
                <a:latin typeface="+mn-lt"/>
              </a:defRPr>
            </a:lvl1pPr>
          </a:lstStyle>
          <a:p>
            <a:pPr lvl="0"/>
            <a:endParaRPr lang="en-US"/>
          </a:p>
        </p:txBody>
      </p:sp>
    </p:spTree>
    <p:extLst>
      <p:ext uri="{BB962C8B-B14F-4D97-AF65-F5344CB8AC3E}">
        <p14:creationId xmlns:p14="http://schemas.microsoft.com/office/powerpoint/2010/main" val="15794860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sv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5" Type="http://schemas.openxmlformats.org/officeDocument/2006/relationships/image" Target="../media/image22.svg"/><Relationship Id="rId4" Type="http://schemas.openxmlformats.org/officeDocument/2006/relationships/image" Target="../media/image21.png"/></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1.xml"/><Relationship Id="rId1" Type="http://schemas.openxmlformats.org/officeDocument/2006/relationships/slideLayout" Target="../slideLayouts/slideLayout70.xml"/><Relationship Id="rId5" Type="http://schemas.openxmlformats.org/officeDocument/2006/relationships/image" Target="../media/image23.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image" Target="../media/image24.sv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image" Target="../media/image11.png"/><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theme" Target="../theme/theme1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8" Type="http://schemas.openxmlformats.org/officeDocument/2006/relationships/slideLayout" Target="../slideLayouts/slideLayout7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04.xml"/><Relationship Id="rId7" Type="http://schemas.openxmlformats.org/officeDocument/2006/relationships/image" Target="../media/image10.svg"/><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image" Target="../media/image9.png"/><Relationship Id="rId5" Type="http://schemas.openxmlformats.org/officeDocument/2006/relationships/theme" Target="../theme/theme13.xml"/><Relationship Id="rId4" Type="http://schemas.openxmlformats.org/officeDocument/2006/relationships/slideLayout" Target="../slideLayouts/slideLayout105.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5" Type="http://schemas.openxmlformats.org/officeDocument/2006/relationships/image" Target="../media/image10.svg"/><Relationship Id="rId4" Type="http://schemas.openxmlformats.org/officeDocument/2006/relationships/image" Target="../media/image9.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image" Target="../media/image24.svg"/><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image" Target="../media/image11.pn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image" Target="../media/image12.svg"/><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4" Type="http://schemas.openxmlformats.org/officeDocument/2006/relationships/image" Target="../media/image11.png"/><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theme" Target="../theme/theme16.xml"/><Relationship Id="rId8" Type="http://schemas.openxmlformats.org/officeDocument/2006/relationships/slideLayout" Target="../slideLayouts/slideLayout144.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20" Type="http://schemas.openxmlformats.org/officeDocument/2006/relationships/slideLayout" Target="../slideLayouts/slideLayout156.xml"/><Relationship Id="rId41" Type="http://schemas.openxmlformats.org/officeDocument/2006/relationships/slideLayout" Target="../slideLayouts/slideLayout177.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10.svg"/><Relationship Id="rId4"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11.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theme" Target="../theme/theme4.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image" Target="../media/image12.svg"/><Relationship Id="rId8"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45.xml"/><Relationship Id="rId7" Type="http://schemas.openxmlformats.org/officeDocument/2006/relationships/image" Target="../media/image1.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5.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50.xml"/><Relationship Id="rId7" Type="http://schemas.openxmlformats.org/officeDocument/2006/relationships/image" Target="../media/image1.pn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6.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55.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7.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0.xml"/><Relationship Id="rId7" Type="http://schemas.openxmlformats.org/officeDocument/2006/relationships/image" Target="../media/image10.svg"/><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image" Target="../media/image9.png"/><Relationship Id="rId5" Type="http://schemas.openxmlformats.org/officeDocument/2006/relationships/theme" Target="../theme/theme8.xml"/><Relationship Id="rId4" Type="http://schemas.openxmlformats.org/officeDocument/2006/relationships/slideLayout" Target="../slideLayouts/slideLayout61.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4.xml"/><Relationship Id="rId7" Type="http://schemas.openxmlformats.org/officeDocument/2006/relationships/theme" Target="../theme/theme9.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image" Target="../media/image16.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1BAAD5E2-067B-C17A-F1F0-15AE3AD1EC9C}"/>
              </a:ext>
            </a:extLst>
          </p:cNvPr>
          <p:cNvSpPr/>
          <p:nvPr userDrawn="1"/>
        </p:nvSpPr>
        <p:spPr>
          <a:xfrm>
            <a:off x="759984" y="50"/>
            <a:ext cx="11432016" cy="6857900"/>
          </a:xfrm>
          <a:custGeom>
            <a:avLst/>
            <a:gdLst/>
            <a:ahLst/>
            <a:cxnLst/>
            <a:rect l="l" t="t" r="r" b="b"/>
            <a:pathLst>
              <a:path w="18842990" h="11303635">
                <a:moveTo>
                  <a:pt x="0" y="11303320"/>
                </a:moveTo>
                <a:lnTo>
                  <a:pt x="18842368" y="11303320"/>
                </a:lnTo>
                <a:lnTo>
                  <a:pt x="18842368" y="0"/>
                </a:lnTo>
                <a:lnTo>
                  <a:pt x="0" y="0"/>
                </a:lnTo>
                <a:lnTo>
                  <a:pt x="0" y="11303320"/>
                </a:lnTo>
                <a:close/>
              </a:path>
            </a:pathLst>
          </a:custGeom>
          <a:solidFill>
            <a:schemeClr val="tx2"/>
          </a:solidFill>
        </p:spPr>
        <p:txBody>
          <a:bodyPr wrap="square" lIns="0" tIns="0" rIns="0" bIns="0" rtlCol="0"/>
          <a:lstStyle/>
          <a:p>
            <a:endParaRPr dirty="0"/>
          </a:p>
        </p:txBody>
      </p:sp>
      <p:sp>
        <p:nvSpPr>
          <p:cNvPr id="6" name="object 9">
            <a:extLst>
              <a:ext uri="{FF2B5EF4-FFF2-40B4-BE49-F238E27FC236}">
                <a16:creationId xmlns:a16="http://schemas.microsoft.com/office/drawing/2014/main" id="{31FCEB96-B9C9-0705-0313-ABCE4E7B52F2}"/>
              </a:ext>
            </a:extLst>
          </p:cNvPr>
          <p:cNvSpPr/>
          <p:nvPr userDrawn="1"/>
        </p:nvSpPr>
        <p:spPr>
          <a:xfrm>
            <a:off x="0" y="1591"/>
            <a:ext cx="759984" cy="6854818"/>
          </a:xfrm>
          <a:custGeom>
            <a:avLst/>
            <a:gdLst/>
            <a:ahLst/>
            <a:cxnLst/>
            <a:rect l="l" t="t" r="r" b="b"/>
            <a:pathLst>
              <a:path w="1251585" h="11298555">
                <a:moveTo>
                  <a:pt x="1251260" y="0"/>
                </a:moveTo>
                <a:lnTo>
                  <a:pt x="0" y="0"/>
                </a:lnTo>
                <a:lnTo>
                  <a:pt x="0" y="11298074"/>
                </a:lnTo>
                <a:lnTo>
                  <a:pt x="1251260" y="11298074"/>
                </a:lnTo>
                <a:lnTo>
                  <a:pt x="1251260" y="0"/>
                </a:lnTo>
                <a:close/>
              </a:path>
            </a:pathLst>
          </a:custGeom>
          <a:solidFill>
            <a:schemeClr val="accent1"/>
          </a:solidFill>
        </p:spPr>
        <p:txBody>
          <a:bodyPr wrap="square" lIns="0" tIns="0" rIns="0" bIns="0" rtlCol="0"/>
          <a:lstStyle/>
          <a:p>
            <a:endParaRPr dirty="0"/>
          </a:p>
        </p:txBody>
      </p:sp>
      <p:pic>
        <p:nvPicPr>
          <p:cNvPr id="39" name="Graphic 38">
            <a:extLst>
              <a:ext uri="{FF2B5EF4-FFF2-40B4-BE49-F238E27FC236}">
                <a16:creationId xmlns:a16="http://schemas.microsoft.com/office/drawing/2014/main" id="{9856AC2C-994B-57B8-5181-7DCE526C7931}"/>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80217" y="5483435"/>
            <a:ext cx="1953633" cy="609390"/>
          </a:xfrm>
          <a:prstGeom prst="rect">
            <a:avLst/>
          </a:prstGeom>
        </p:spPr>
      </p:pic>
      <p:cxnSp>
        <p:nvCxnSpPr>
          <p:cNvPr id="43" name="Straight Connector 42">
            <a:extLst>
              <a:ext uri="{FF2B5EF4-FFF2-40B4-BE49-F238E27FC236}">
                <a16:creationId xmlns:a16="http://schemas.microsoft.com/office/drawing/2014/main" id="{3C818F3F-A484-4CFD-9F42-7743D670E31F}"/>
              </a:ext>
            </a:extLst>
          </p:cNvPr>
          <p:cNvCxnSpPr/>
          <p:nvPr userDrawn="1"/>
        </p:nvCxnSpPr>
        <p:spPr>
          <a:xfrm>
            <a:off x="4470400" y="5467350"/>
            <a:ext cx="0" cy="68580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27A548B-1501-12F8-95B9-C2DDAF7DE8DF}"/>
              </a:ext>
            </a:extLst>
          </p:cNvPr>
          <p:cNvSpPr txBox="1"/>
          <p:nvPr userDrawn="1"/>
        </p:nvSpPr>
        <p:spPr>
          <a:xfrm>
            <a:off x="4704348" y="5423646"/>
            <a:ext cx="4604752" cy="740972"/>
          </a:xfrm>
          <a:prstGeom prst="rect">
            <a:avLst/>
          </a:prstGeom>
          <a:noFill/>
        </p:spPr>
        <p:txBody>
          <a:bodyPr wrap="square" rtlCol="0">
            <a:spAutoFit/>
          </a:bodyPr>
          <a:lstStyle/>
          <a:p>
            <a:pPr>
              <a:lnSpc>
                <a:spcPct val="110000"/>
              </a:lnSpc>
            </a:pPr>
            <a:r>
              <a:rPr lang="en-US" sz="1300" i="0" dirty="0">
                <a:solidFill>
                  <a:schemeClr val="bg1"/>
                </a:solidFill>
                <a:latin typeface="+mn-lt"/>
                <a:cs typeface="Poppins" panose="00000500000000000000" pitchFamily="2" charset="0"/>
              </a:rPr>
              <a:t>We mobilize people, data, and solutions across the value chain to reduce waste and our impact on the environment while also unlocking economic benefits.</a:t>
            </a:r>
          </a:p>
        </p:txBody>
      </p:sp>
      <p:sp>
        <p:nvSpPr>
          <p:cNvPr id="45" name="Rectangle: Rounded Corners 44">
            <a:extLst>
              <a:ext uri="{FF2B5EF4-FFF2-40B4-BE49-F238E27FC236}">
                <a16:creationId xmlns:a16="http://schemas.microsoft.com/office/drawing/2014/main" id="{1EA3A5D4-1289-223B-8CE6-AE4F32BEB548}"/>
              </a:ext>
            </a:extLst>
          </p:cNvPr>
          <p:cNvSpPr/>
          <p:nvPr userDrawn="1"/>
        </p:nvSpPr>
        <p:spPr>
          <a:xfrm>
            <a:off x="2165350" y="3683000"/>
            <a:ext cx="3073400" cy="4572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Tree>
    <p:extLst>
      <p:ext uri="{BB962C8B-B14F-4D97-AF65-F5344CB8AC3E}">
        <p14:creationId xmlns:p14="http://schemas.microsoft.com/office/powerpoint/2010/main" val="3446306125"/>
      </p:ext>
    </p:extLst>
  </p:cSld>
  <p:clrMap bg1="lt1" tx1="dk1" bg2="lt2" tx2="dk2" accent1="accent1" accent2="accent2" accent3="accent3" accent4="accent4" accent5="accent5" accent6="accent6" hlink="hlink" folHlink="folHlink"/>
  <p:sldLayoutIdLst>
    <p:sldLayoutId id="2147484206" r:id="rId1"/>
  </p:sldLayoutIdLst>
  <p:hf hdr="0" ftr="0" dt="0"/>
  <p:txStyles>
    <p:titleStyle>
      <a:lvl1pPr algn="l" defTabSz="914400" rtl="0" eaLnBrk="1" latinLnBrk="0" hangingPunct="1">
        <a:lnSpc>
          <a:spcPct val="90000"/>
        </a:lnSpc>
        <a:spcBef>
          <a:spcPct val="0"/>
        </a:spcBef>
        <a:buNone/>
        <a:defRPr sz="6600" b="1" kern="1200">
          <a:solidFill>
            <a:schemeClr val="bg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8BE8B3-4C51-0EBB-0C5D-DE8C580B7675}"/>
              </a:ext>
            </a:extLst>
          </p:cNvPr>
          <p:cNvSpPr/>
          <p:nvPr userDrawn="1"/>
        </p:nvSpPr>
        <p:spPr>
          <a:xfrm>
            <a:off x="3320" y="0"/>
            <a:ext cx="12188680" cy="68760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0">
                <a:solidFill>
                  <a:schemeClr val="bg1"/>
                </a:solidFill>
                <a:latin typeface="+mn-lt"/>
              </a:defRPr>
            </a:lvl1pPr>
          </a:lstStyle>
          <a:p>
            <a:fld id="{6CC2FB7E-E9FD-AA44-8101-F627C1923673}" type="slidenum">
              <a:rPr lang="en-US" smtClean="0"/>
              <a:pPr/>
              <a:t>‹#›</a:t>
            </a:fld>
            <a:endParaRPr lang="en-US" dirty="0"/>
          </a:p>
        </p:txBody>
      </p:sp>
      <p:pic>
        <p:nvPicPr>
          <p:cNvPr id="3" name="Graphic 2">
            <a:extLst>
              <a:ext uri="{FF2B5EF4-FFF2-40B4-BE49-F238E27FC236}">
                <a16:creationId xmlns:a16="http://schemas.microsoft.com/office/drawing/2014/main" id="{98C16A2C-F9C5-EEBD-AAC6-B314B164CC7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224311" y="6093555"/>
            <a:ext cx="2179183" cy="746387"/>
          </a:xfrm>
          <a:prstGeom prst="rect">
            <a:avLst/>
          </a:prstGeom>
        </p:spPr>
      </p:pic>
      <p:sp>
        <p:nvSpPr>
          <p:cNvPr id="4" name="TextBox 3">
            <a:extLst>
              <a:ext uri="{FF2B5EF4-FFF2-40B4-BE49-F238E27FC236}">
                <a16:creationId xmlns:a16="http://schemas.microsoft.com/office/drawing/2014/main" id="{B97A1244-AE63-940D-279B-8C9B0F92481D}"/>
              </a:ext>
            </a:extLst>
          </p:cNvPr>
          <p:cNvSpPr txBox="1"/>
          <p:nvPr userDrawn="1"/>
        </p:nvSpPr>
        <p:spPr>
          <a:xfrm>
            <a:off x="509044" y="6338458"/>
            <a:ext cx="3966703" cy="246221"/>
          </a:xfrm>
          <a:prstGeom prst="rect">
            <a:avLst/>
          </a:prstGeom>
          <a:noFill/>
        </p:spPr>
        <p:txBody>
          <a:bodyPr wrap="square" lIns="91440" tIns="45720" rIns="91440" bIns="45720" rtlCol="0">
            <a:spAutoFit/>
          </a:bodyPr>
          <a:lstStyle/>
          <a:p>
            <a:r>
              <a:rPr lang="en-US" sz="1000" dirty="0">
                <a:solidFill>
                  <a:schemeClr val="bg1"/>
                </a:solidFill>
                <a:latin typeface="+mn-lt"/>
              </a:rPr>
              <a:t>Confidential to Members of The Recycling Partnership</a:t>
            </a:r>
          </a:p>
        </p:txBody>
      </p:sp>
    </p:spTree>
    <p:extLst>
      <p:ext uri="{BB962C8B-B14F-4D97-AF65-F5344CB8AC3E}">
        <p14:creationId xmlns:p14="http://schemas.microsoft.com/office/powerpoint/2010/main" val="830944642"/>
      </p:ext>
    </p:extLst>
  </p:cSld>
  <p:clrMap bg1="lt1" tx1="dk1" bg2="lt2" tx2="dk2" accent1="accent1" accent2="accent2" accent3="accent3" accent4="accent4" accent5="accent5" accent6="accent6" hlink="hlink" folHlink="folHlink"/>
  <p:sldLayoutIdLst>
    <p:sldLayoutId id="2147484384" r:id="rId1"/>
    <p:sldLayoutId id="2147484385" r:id="rId2"/>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9B9C31-FE71-4F18-92BC-FD54BB5231C3}"/>
              </a:ext>
            </a:extLst>
          </p:cNvPr>
          <p:cNvGraphicFramePr>
            <a:graphicFrameLocks noChangeAspect="1"/>
          </p:cNvGraphicFramePr>
          <p:nvPr userDrawn="1">
            <p:custDataLst>
              <p:tags r:id="rId3"/>
            </p:custDataLst>
            <p:extLst>
              <p:ext uri="{D42A27DB-BD31-4B8C-83A1-F6EECF244321}">
                <p14:modId xmlns:p14="http://schemas.microsoft.com/office/powerpoint/2010/main" val="114604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C9B9C31-FE71-4F18-92BC-FD54BB5231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15144507"/>
      </p:ext>
    </p:extLst>
  </p:cSld>
  <p:clrMap bg1="lt1" tx1="dk1" bg2="lt2" tx2="dk2" accent1="accent1" accent2="accent2" accent3="accent3" accent4="accent4" accent5="accent5" accent6="accent6" hlink="hlink" folHlink="folHlink"/>
  <p:sldLayoutIdLst>
    <p:sldLayoutId id="2147483696" r:id="rId1"/>
  </p:sldLayoutIdLst>
  <p:hf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tx2"/>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613794754"/>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 id="2147484310" r:id="rId9"/>
    <p:sldLayoutId id="2147484311" r:id="rId10"/>
    <p:sldLayoutId id="2147484312" r:id="rId11"/>
    <p:sldLayoutId id="2147484313" r:id="rId12"/>
    <p:sldLayoutId id="2147484314" r:id="rId13"/>
    <p:sldLayoutId id="2147484315" r:id="rId14"/>
    <p:sldLayoutId id="2147484316" r:id="rId15"/>
    <p:sldLayoutId id="2147484317" r:id="rId16"/>
    <p:sldLayoutId id="2147484318" r:id="rId17"/>
    <p:sldLayoutId id="2147484319" r:id="rId18"/>
    <p:sldLayoutId id="2147484320" r:id="rId19"/>
    <p:sldLayoutId id="2147484321" r:id="rId20"/>
    <p:sldLayoutId id="2147484322" r:id="rId21"/>
    <p:sldLayoutId id="2147484323" r:id="rId22"/>
    <p:sldLayoutId id="2147484324" r:id="rId23"/>
    <p:sldLayoutId id="2147484325" r:id="rId24"/>
    <p:sldLayoutId id="2147484326" r:id="rId25"/>
    <p:sldLayoutId id="2147484327" r:id="rId26"/>
    <p:sldLayoutId id="2147484328" r:id="rId27"/>
    <p:sldLayoutId id="2147484329" r:id="rId28"/>
    <p:sldLayoutId id="2147484330" r:id="rId29"/>
    <p:sldLayoutId id="2147484476" r:id="rId30"/>
    <p:sldLayoutId id="2147484478" r:id="rId31"/>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0">
                <a:solidFill>
                  <a:schemeClr val="tx2"/>
                </a:solidFill>
                <a:latin typeface="+mn-lt"/>
              </a:defRPr>
            </a:lvl1pPr>
          </a:lstStyle>
          <a:p>
            <a:fld id="{6CC2FB7E-E9FD-AA44-8101-F627C1923673}" type="slidenum">
              <a:rPr lang="en-US" smtClean="0"/>
              <a:pPr/>
              <a:t>‹#›</a:t>
            </a:fld>
            <a:endParaRPr lang="en-US" dirty="0"/>
          </a:p>
        </p:txBody>
      </p:sp>
      <p:pic>
        <p:nvPicPr>
          <p:cNvPr id="4" name="Graphic 3">
            <a:extLst>
              <a:ext uri="{FF2B5EF4-FFF2-40B4-BE49-F238E27FC236}">
                <a16:creationId xmlns:a16="http://schemas.microsoft.com/office/drawing/2014/main" id="{9210E11E-0BD3-4BDD-921A-BA5EB3F7D82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37387" y="6220985"/>
            <a:ext cx="1925926" cy="493956"/>
          </a:xfrm>
          <a:prstGeom prst="rect">
            <a:avLst/>
          </a:prstGeom>
        </p:spPr>
      </p:pic>
    </p:spTree>
    <p:extLst>
      <p:ext uri="{BB962C8B-B14F-4D97-AF65-F5344CB8AC3E}">
        <p14:creationId xmlns:p14="http://schemas.microsoft.com/office/powerpoint/2010/main" val="3999829682"/>
      </p:ext>
    </p:extLst>
  </p:cSld>
  <p:clrMap bg1="lt1" tx1="dk1" bg2="lt2" tx2="dk2" accent1="accent1" accent2="accent2" accent3="accent3" accent4="accent4" accent5="accent5" accent6="accent6" hlink="hlink" folHlink="folHlink"/>
  <p:sldLayoutIdLst>
    <p:sldLayoutId id="2147484390" r:id="rId1"/>
    <p:sldLayoutId id="2147484300" r:id="rId2"/>
    <p:sldLayoutId id="2147484367" r:id="rId3"/>
    <p:sldLayoutId id="2147484368" r:id="rId4"/>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0">
                <a:solidFill>
                  <a:schemeClr val="tx2"/>
                </a:solidFill>
                <a:latin typeface="+mn-lt"/>
              </a:defRPr>
            </a:lvl1pPr>
          </a:lstStyle>
          <a:p>
            <a:fld id="{6CC2FB7E-E9FD-AA44-8101-F627C1923673}" type="slidenum">
              <a:rPr lang="en-US" smtClean="0"/>
              <a:pPr/>
              <a:t>‹#›</a:t>
            </a:fld>
            <a:endParaRPr lang="en-US" dirty="0"/>
          </a:p>
        </p:txBody>
      </p:sp>
      <p:pic>
        <p:nvPicPr>
          <p:cNvPr id="4" name="Graphic 3">
            <a:extLst>
              <a:ext uri="{FF2B5EF4-FFF2-40B4-BE49-F238E27FC236}">
                <a16:creationId xmlns:a16="http://schemas.microsoft.com/office/drawing/2014/main" id="{9210E11E-0BD3-4BDD-921A-BA5EB3F7D82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37387" y="6220985"/>
            <a:ext cx="1925926" cy="493956"/>
          </a:xfrm>
          <a:prstGeom prst="rect">
            <a:avLst/>
          </a:prstGeom>
        </p:spPr>
      </p:pic>
    </p:spTree>
    <p:extLst>
      <p:ext uri="{BB962C8B-B14F-4D97-AF65-F5344CB8AC3E}">
        <p14:creationId xmlns:p14="http://schemas.microsoft.com/office/powerpoint/2010/main" val="3999829682"/>
      </p:ext>
    </p:extLst>
  </p:cSld>
  <p:clrMap bg1="lt1" tx1="dk1" bg2="lt2" tx2="dk2" accent1="accent1" accent2="accent2" accent3="accent3" accent4="accent4" accent5="accent5" accent6="accent6" hlink="hlink" folHlink="folHlink"/>
  <p:sldLayoutIdLst>
    <p:sldLayoutId id="2147484394" r:id="rId1"/>
    <p:sldLayoutId id="2147484205" r:id="rId2"/>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tx2"/>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4026705483"/>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 id="2147484423" r:id="rId22"/>
    <p:sldLayoutId id="2147484424" r:id="rId23"/>
    <p:sldLayoutId id="2147484425" r:id="rId24"/>
    <p:sldLayoutId id="2147484426" r:id="rId25"/>
    <p:sldLayoutId id="2147484427" r:id="rId26"/>
    <p:sldLayoutId id="2147484428" r:id="rId27"/>
    <p:sldLayoutId id="2147484429" r:id="rId28"/>
    <p:sldLayoutId id="2147484430" r:id="rId29"/>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tx2"/>
                </a:solidFill>
                <a:latin typeface="+mn-lt"/>
              </a:defRPr>
            </a:lvl1pPr>
          </a:lstStyle>
          <a:p>
            <a:fld id="{6CC2FB7E-E9FD-AA44-8101-F627C1923673}" type="slidenum">
              <a:rPr lang="en-US" smtClean="0"/>
              <a:pPr/>
              <a:t>‹#›</a:t>
            </a:fld>
            <a:endParaRPr lang="en-US"/>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7760327"/>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 id="2147484462" r:id="rId29"/>
    <p:sldLayoutId id="2147484463" r:id="rId30"/>
    <p:sldLayoutId id="2147484464" r:id="rId31"/>
    <p:sldLayoutId id="2147484465" r:id="rId32"/>
    <p:sldLayoutId id="2147484466" r:id="rId33"/>
    <p:sldLayoutId id="2147484467" r:id="rId34"/>
    <p:sldLayoutId id="2147484468" r:id="rId35"/>
    <p:sldLayoutId id="2147484469" r:id="rId36"/>
    <p:sldLayoutId id="2147484470" r:id="rId37"/>
    <p:sldLayoutId id="2147484471" r:id="rId38"/>
    <p:sldLayoutId id="2147484472" r:id="rId39"/>
    <p:sldLayoutId id="2147484473" r:id="rId40"/>
    <p:sldLayoutId id="2147484474" r:id="rId41"/>
    <p:sldLayoutId id="2147484475" r:id="rId42"/>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56B843-5196-C973-BEE4-F7D27C25993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475781"/>
      </p:ext>
    </p:extLst>
  </p:cSld>
  <p:clrMap bg1="lt1" tx1="dk1" bg2="lt2" tx2="dk2" accent1="accent1" accent2="accent2" accent3="accent3" accent4="accent4" accent5="accent5" accent6="accent6" hlink="hlink" folHlink="folHlink"/>
  <p:sldLayoutIdLst>
    <p:sldLayoutId id="2147484202" r:id="rId1"/>
    <p:sldLayoutId id="2147484214" r:id="rId2"/>
    <p:sldLayoutId id="2147484211" r:id="rId3"/>
    <p:sldLayoutId id="2147484277" r:id="rId4"/>
    <p:sldLayoutId id="2147484278" r:id="rId5"/>
    <p:sldLayoutId id="2147484212" r:id="rId6"/>
    <p:sldLayoutId id="2147484213" r:id="rId7"/>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0">
                <a:solidFill>
                  <a:schemeClr val="tx2"/>
                </a:solidFill>
                <a:latin typeface="+mn-lt"/>
              </a:defRPr>
            </a:lvl1pPr>
          </a:lstStyle>
          <a:p>
            <a:fld id="{6CC2FB7E-E9FD-AA44-8101-F627C1923673}" type="slidenum">
              <a:rPr lang="en-US" smtClean="0"/>
              <a:pPr/>
              <a:t>‹#›</a:t>
            </a:fld>
            <a:endParaRPr lang="en-US" dirty="0"/>
          </a:p>
        </p:txBody>
      </p:sp>
      <p:pic>
        <p:nvPicPr>
          <p:cNvPr id="4" name="Graphic 3">
            <a:extLst>
              <a:ext uri="{FF2B5EF4-FFF2-40B4-BE49-F238E27FC236}">
                <a16:creationId xmlns:a16="http://schemas.microsoft.com/office/drawing/2014/main" id="{9210E11E-0BD3-4BDD-921A-BA5EB3F7D82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37387" y="6220985"/>
            <a:ext cx="1925926" cy="493956"/>
          </a:xfrm>
          <a:prstGeom prst="rect">
            <a:avLst/>
          </a:prstGeom>
        </p:spPr>
      </p:pic>
      <p:sp>
        <p:nvSpPr>
          <p:cNvPr id="2" name="TextBox 1">
            <a:extLst>
              <a:ext uri="{FF2B5EF4-FFF2-40B4-BE49-F238E27FC236}">
                <a16:creationId xmlns:a16="http://schemas.microsoft.com/office/drawing/2014/main" id="{7D197FEB-96A7-803D-425A-E01827C13698}"/>
              </a:ext>
            </a:extLst>
          </p:cNvPr>
          <p:cNvSpPr txBox="1"/>
          <p:nvPr userDrawn="1"/>
        </p:nvSpPr>
        <p:spPr>
          <a:xfrm>
            <a:off x="509044" y="6338458"/>
            <a:ext cx="3966703" cy="246221"/>
          </a:xfrm>
          <a:prstGeom prst="rect">
            <a:avLst/>
          </a:prstGeom>
          <a:noFill/>
        </p:spPr>
        <p:txBody>
          <a:bodyPr wrap="square" lIns="91440" tIns="45720" rIns="91440" bIns="45720" rtlCol="0">
            <a:spAutoFit/>
          </a:bodyPr>
          <a:lstStyle/>
          <a:p>
            <a:r>
              <a:rPr lang="en-US" sz="1000" dirty="0">
                <a:solidFill>
                  <a:schemeClr val="tx2"/>
                </a:solidFill>
                <a:latin typeface="+mn-lt"/>
              </a:rPr>
              <a:t>Confidential to Members of The Recycling Partnership</a:t>
            </a:r>
          </a:p>
        </p:txBody>
      </p:sp>
    </p:spTree>
    <p:extLst>
      <p:ext uri="{BB962C8B-B14F-4D97-AF65-F5344CB8AC3E}">
        <p14:creationId xmlns:p14="http://schemas.microsoft.com/office/powerpoint/2010/main" val="3999829682"/>
      </p:ext>
    </p:extLst>
  </p:cSld>
  <p:clrMap bg1="lt1" tx1="dk1" bg2="lt2" tx2="dk2" accent1="accent1" accent2="accent2" accent3="accent3" accent4="accent4" accent5="accent5" accent6="accent6" hlink="hlink" folHlink="folHlink"/>
  <p:sldLayoutIdLst>
    <p:sldLayoutId id="2147484204" r:id="rId1"/>
    <p:sldLayoutId id="2147484477" r:id="rId2"/>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tx2"/>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613794754"/>
      </p:ext>
    </p:extLst>
  </p:cSld>
  <p:clrMap bg1="lt1" tx1="dk1" bg2="lt2" tx2="dk2" accent1="accent1" accent2="accent2" accent3="accent3" accent4="accent4" accent5="accent5" accent6="accent6" hlink="hlink" folHlink="folHlink"/>
  <p:sldLayoutIdLst>
    <p:sldLayoutId id="2147484210" r:id="rId1"/>
    <p:sldLayoutId id="2147484208" r:id="rId2"/>
    <p:sldLayoutId id="2147484276" r:id="rId3"/>
    <p:sldLayoutId id="2147484274" r:id="rId4"/>
    <p:sldLayoutId id="2147484256" r:id="rId5"/>
    <p:sldLayoutId id="2147484255" r:id="rId6"/>
    <p:sldLayoutId id="2147484228" r:id="rId7"/>
    <p:sldLayoutId id="2147484227" r:id="rId8"/>
    <p:sldLayoutId id="2147484253" r:id="rId9"/>
    <p:sldLayoutId id="2147484254" r:id="rId10"/>
    <p:sldLayoutId id="2147484272" r:id="rId11"/>
    <p:sldLayoutId id="2147484226" r:id="rId12"/>
    <p:sldLayoutId id="2147484252" r:id="rId13"/>
    <p:sldLayoutId id="2147484220" r:id="rId14"/>
    <p:sldLayoutId id="2147484216" r:id="rId15"/>
    <p:sldLayoutId id="2147484215" r:id="rId16"/>
    <p:sldLayoutId id="2147484217" r:id="rId17"/>
    <p:sldLayoutId id="2147484225" r:id="rId18"/>
    <p:sldLayoutId id="2147484221" r:id="rId19"/>
    <p:sldLayoutId id="2147484222" r:id="rId20"/>
    <p:sldLayoutId id="2147484223" r:id="rId21"/>
    <p:sldLayoutId id="2147484224" r:id="rId22"/>
    <p:sldLayoutId id="2147484219" r:id="rId23"/>
    <p:sldLayoutId id="2147484218" r:id="rId24"/>
    <p:sldLayoutId id="2147484273" r:id="rId25"/>
    <p:sldLayoutId id="2147484389" r:id="rId26"/>
    <p:sldLayoutId id="2147484397" r:id="rId27"/>
    <p:sldLayoutId id="2147484257" r:id="rId28"/>
    <p:sldLayoutId id="2147484268" r:id="rId29"/>
    <p:sldLayoutId id="2147484271" r:id="rId30"/>
    <p:sldLayoutId id="2147484269" r:id="rId31"/>
    <p:sldLayoutId id="2147484388" r:id="rId32"/>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bg1"/>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3531601800"/>
      </p:ext>
    </p:extLst>
  </p:cSld>
  <p:clrMap bg1="lt1" tx1="dk1" bg2="lt2" tx2="dk2" accent1="accent1" accent2="accent2" accent3="accent3" accent4="accent4" accent5="accent5" accent6="accent6" hlink="hlink" folHlink="folHlink"/>
  <p:sldLayoutIdLst>
    <p:sldLayoutId id="2147484230" r:id="rId1"/>
    <p:sldLayoutId id="2147484265" r:id="rId2"/>
    <p:sldLayoutId id="2147484266" r:id="rId3"/>
    <p:sldLayoutId id="2147484267" r:id="rId4"/>
    <p:sldLayoutId id="2147484275" r:id="rId5"/>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3"/>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bg1"/>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338266198"/>
      </p:ext>
    </p:extLst>
  </p:cSld>
  <p:clrMap bg1="lt1" tx1="dk1" bg2="lt2" tx2="dk2" accent1="accent1" accent2="accent2" accent3="accent3" accent4="accent4" accent5="accent5" accent6="accent6" hlink="hlink" folHlink="folHlink"/>
  <p:sldLayoutIdLst>
    <p:sldLayoutId id="2147484247" r:id="rId1"/>
    <p:sldLayoutId id="2147484262" r:id="rId2"/>
    <p:sldLayoutId id="2147484263" r:id="rId3"/>
    <p:sldLayoutId id="2147484264" r:id="rId4"/>
    <p:sldLayoutId id="2147484248" r:id="rId5"/>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bg1"/>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1935119331"/>
      </p:ext>
    </p:extLst>
  </p:cSld>
  <p:clrMap bg1="lt1" tx1="dk1" bg2="lt2" tx2="dk2" accent1="accent1" accent2="accent2" accent3="accent3" accent4="accent4" accent5="accent5" accent6="accent6" hlink="hlink" folHlink="folHlink"/>
  <p:sldLayoutIdLst>
    <p:sldLayoutId id="2147484250" r:id="rId1"/>
    <p:sldLayoutId id="2147484260" r:id="rId2"/>
    <p:sldLayoutId id="2147484258" r:id="rId3"/>
    <p:sldLayoutId id="2147484261" r:id="rId4"/>
    <p:sldLayoutId id="2147484251" r:id="rId5"/>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5506" y="6279006"/>
            <a:ext cx="427419" cy="365125"/>
          </a:xfrm>
          <a:prstGeom prst="rect">
            <a:avLst/>
          </a:prstGeom>
        </p:spPr>
        <p:txBody>
          <a:bodyPr vert="horz" lIns="91440" tIns="45720" rIns="91440" bIns="45720" rtlCol="0" anchor="ctr"/>
          <a:lstStyle>
            <a:lvl1pPr algn="ctr">
              <a:defRPr sz="1200" b="1">
                <a:solidFill>
                  <a:schemeClr val="tx2"/>
                </a:solidFill>
                <a:latin typeface="+mn-lt"/>
              </a:defRPr>
            </a:lvl1pPr>
          </a:lstStyle>
          <a:p>
            <a:fld id="{6CC2FB7E-E9FD-AA44-8101-F627C1923673}" type="slidenum">
              <a:rPr lang="en-US" smtClean="0"/>
              <a:pPr/>
              <a:t>‹#›</a:t>
            </a:fld>
            <a:endParaRPr lang="en-US" dirty="0"/>
          </a:p>
        </p:txBody>
      </p:sp>
      <p:pic>
        <p:nvPicPr>
          <p:cNvPr id="4" name="Graphic 3">
            <a:extLst>
              <a:ext uri="{FF2B5EF4-FFF2-40B4-BE49-F238E27FC236}">
                <a16:creationId xmlns:a16="http://schemas.microsoft.com/office/drawing/2014/main" id="{9210E11E-0BD3-4BDD-921A-BA5EB3F7D82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337387" y="6220985"/>
            <a:ext cx="1925926" cy="493956"/>
          </a:xfrm>
          <a:prstGeom prst="rect">
            <a:avLst/>
          </a:prstGeom>
        </p:spPr>
      </p:pic>
    </p:spTree>
    <p:extLst>
      <p:ext uri="{BB962C8B-B14F-4D97-AF65-F5344CB8AC3E}">
        <p14:creationId xmlns:p14="http://schemas.microsoft.com/office/powerpoint/2010/main" val="3968977579"/>
      </p:ext>
    </p:extLst>
  </p:cSld>
  <p:clrMap bg1="lt1" tx1="dk1" bg2="lt2" tx2="dk2" accent1="accent1" accent2="accent2" accent3="accent3" accent4="accent4" accent5="accent5" accent6="accent6" hlink="hlink" folHlink="folHlink"/>
  <p:sldLayoutIdLst>
    <p:sldLayoutId id="2147484150" r:id="rId1"/>
    <p:sldLayoutId id="2147484344" r:id="rId2"/>
    <p:sldLayoutId id="2147484345" r:id="rId3"/>
    <p:sldLayoutId id="2147484346" r:id="rId4"/>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EADAEBA-E1F5-3597-61D6-5329C468D875}"/>
              </a:ext>
            </a:extLst>
          </p:cNvPr>
          <p:cNvSpPr>
            <a:spLocks noGrp="1"/>
          </p:cNvSpPr>
          <p:nvPr>
            <p:ph type="sldNum" sz="quarter" idx="4"/>
          </p:nvPr>
        </p:nvSpPr>
        <p:spPr>
          <a:xfrm>
            <a:off x="11541149" y="6284305"/>
            <a:ext cx="427419" cy="365125"/>
          </a:xfrm>
          <a:prstGeom prst="rect">
            <a:avLst/>
          </a:prstGeom>
        </p:spPr>
        <p:txBody>
          <a:bodyPr vert="horz" lIns="91440" tIns="45720" rIns="91440" bIns="45720" rtlCol="0" anchor="ctr"/>
          <a:lstStyle>
            <a:lvl1pPr algn="l">
              <a:defRPr sz="1050" b="0">
                <a:solidFill>
                  <a:schemeClr val="bg1"/>
                </a:solidFill>
                <a:latin typeface="+mn-lt"/>
              </a:defRPr>
            </a:lvl1pPr>
          </a:lstStyle>
          <a:p>
            <a:fld id="{6CC2FB7E-E9FD-AA44-8101-F627C1923673}" type="slidenum">
              <a:rPr lang="en-US" smtClean="0"/>
              <a:pPr/>
              <a:t>‹#›</a:t>
            </a:fld>
            <a:endParaRPr lang="en-US" dirty="0"/>
          </a:p>
        </p:txBody>
      </p:sp>
      <p:pic>
        <p:nvPicPr>
          <p:cNvPr id="8" name="Graphic 7">
            <a:extLst>
              <a:ext uri="{FF2B5EF4-FFF2-40B4-BE49-F238E27FC236}">
                <a16:creationId xmlns:a16="http://schemas.microsoft.com/office/drawing/2014/main" id="{A4C6CFD1-0CC2-ADA2-F966-5AB01A3A1076}"/>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7136" y="6218795"/>
            <a:ext cx="1590581" cy="496145"/>
          </a:xfrm>
          <a:prstGeom prst="rect">
            <a:avLst/>
          </a:prstGeom>
        </p:spPr>
      </p:pic>
    </p:spTree>
    <p:extLst>
      <p:ext uri="{BB962C8B-B14F-4D97-AF65-F5344CB8AC3E}">
        <p14:creationId xmlns:p14="http://schemas.microsoft.com/office/powerpoint/2010/main" val="3531601800"/>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283" r:id="rId6"/>
  </p:sldLayoutIdLst>
  <p:hf hdr="0" ftr="0" dt="0"/>
  <p:txStyles>
    <p:title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sv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2.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png"/></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hyperlink" Target="https://ylfresh.com/" TargetMode="External"/><Relationship Id="rId5" Type="http://schemas.openxmlformats.org/officeDocument/2006/relationships/image" Target="../media/image74.png"/><Relationship Id="rId4" Type="http://schemas.openxmlformats.org/officeDocument/2006/relationships/image" Target="../media/image73.png"/><Relationship Id="rId9" Type="http://schemas.openxmlformats.org/officeDocument/2006/relationships/image" Target="../media/image77.svg"/></Relationships>
</file>

<file path=ppt/slides/_rels/slide1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1.xml"/><Relationship Id="rId4" Type="http://schemas.openxmlformats.org/officeDocument/2006/relationships/image" Target="../media/image83.jpeg"/></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178.xml"/><Relationship Id="rId4" Type="http://schemas.openxmlformats.org/officeDocument/2006/relationships/image" Target="../media/image33.svg"/></Relationships>
</file>

<file path=ppt/slides/_rels/slide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71.x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0"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4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12.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100.xml"/><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F1669-DDE0-F22A-8483-C6B1FDEFFEB7}"/>
              </a:ext>
            </a:extLst>
          </p:cNvPr>
          <p:cNvSpPr>
            <a:spLocks noGrp="1"/>
          </p:cNvSpPr>
          <p:nvPr>
            <p:ph type="title"/>
          </p:nvPr>
        </p:nvSpPr>
        <p:spPr>
          <a:xfrm>
            <a:off x="1906770" y="1060518"/>
            <a:ext cx="9176576" cy="1588127"/>
          </a:xfrm>
        </p:spPr>
        <p:txBody>
          <a:bodyPr wrap="square" lIns="91440" tIns="45720" rIns="91440" bIns="45720" anchor="t">
            <a:spAutoFit/>
          </a:bodyPr>
          <a:lstStyle/>
          <a:p>
            <a:r>
              <a:rPr lang="en-US" sz="5400" dirty="0">
                <a:ea typeface="Roboto"/>
              </a:rPr>
              <a:t>Future Focus:  Leveraging data for your success</a:t>
            </a:r>
            <a:endParaRPr lang="en-US" sz="6600" dirty="0">
              <a:ea typeface="Roboto"/>
            </a:endParaRPr>
          </a:p>
        </p:txBody>
      </p:sp>
      <p:sp>
        <p:nvSpPr>
          <p:cNvPr id="3" name="Text Placeholder 2">
            <a:extLst>
              <a:ext uri="{FF2B5EF4-FFF2-40B4-BE49-F238E27FC236}">
                <a16:creationId xmlns:a16="http://schemas.microsoft.com/office/drawing/2014/main" id="{CF7D5F2B-392E-C51E-0C61-1174E361B67F}"/>
              </a:ext>
            </a:extLst>
          </p:cNvPr>
          <p:cNvSpPr>
            <a:spLocks noGrp="1"/>
          </p:cNvSpPr>
          <p:nvPr>
            <p:ph type="body" sz="quarter" idx="12"/>
          </p:nvPr>
        </p:nvSpPr>
        <p:spPr/>
        <p:txBody>
          <a:bodyPr wrap="square" lIns="91440" tIns="45720" rIns="91440" bIns="45720" anchor="t">
            <a:spAutoFit/>
          </a:bodyPr>
          <a:lstStyle/>
          <a:p>
            <a:r>
              <a:rPr lang="en-US" dirty="0"/>
              <a:t>October 23, 2023</a:t>
            </a:r>
          </a:p>
        </p:txBody>
      </p:sp>
      <p:sp>
        <p:nvSpPr>
          <p:cNvPr id="5" name="Rectangle 4">
            <a:extLst>
              <a:ext uri="{FF2B5EF4-FFF2-40B4-BE49-F238E27FC236}">
                <a16:creationId xmlns:a16="http://schemas.microsoft.com/office/drawing/2014/main" id="{484D43F3-8D04-C7D8-678F-AEE92F75B215}"/>
              </a:ext>
            </a:extLst>
          </p:cNvPr>
          <p:cNvSpPr/>
          <p:nvPr/>
        </p:nvSpPr>
        <p:spPr>
          <a:xfrm>
            <a:off x="1640335" y="3141316"/>
            <a:ext cx="4634821" cy="127736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1DF22D4-EE17-E126-B315-0F881002AFC7}"/>
              </a:ext>
            </a:extLst>
          </p:cNvPr>
          <p:cNvSpPr txBox="1"/>
          <p:nvPr/>
        </p:nvSpPr>
        <p:spPr>
          <a:xfrm>
            <a:off x="2074293" y="3141316"/>
            <a:ext cx="7469829" cy="954107"/>
          </a:xfrm>
          <a:prstGeom prst="rect">
            <a:avLst/>
          </a:prstGeom>
          <a:noFill/>
        </p:spPr>
        <p:txBody>
          <a:bodyPr wrap="square" rtlCol="0">
            <a:spAutoFit/>
          </a:bodyPr>
          <a:lstStyle/>
          <a:p>
            <a:endParaRPr lang="en-US" sz="2800" b="1" dirty="0">
              <a:solidFill>
                <a:schemeClr val="bg1"/>
              </a:solidFill>
            </a:endParaRPr>
          </a:p>
          <a:p>
            <a:r>
              <a:rPr lang="en-US" sz="2800" dirty="0">
                <a:solidFill>
                  <a:schemeClr val="bg1"/>
                </a:solidFill>
              </a:rPr>
              <a:t>Keefe Harrison, CEO</a:t>
            </a:r>
          </a:p>
        </p:txBody>
      </p:sp>
    </p:spTree>
    <p:extLst>
      <p:ext uri="{BB962C8B-B14F-4D97-AF65-F5344CB8AC3E}">
        <p14:creationId xmlns:p14="http://schemas.microsoft.com/office/powerpoint/2010/main" val="39913148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332F3F-BC82-8439-6380-8B814E3159B6}"/>
              </a:ext>
            </a:extLst>
          </p:cNvPr>
          <p:cNvSpPr>
            <a:spLocks noGrp="1"/>
          </p:cNvSpPr>
          <p:nvPr>
            <p:ph type="sldNum" sz="quarter" idx="10"/>
          </p:nvPr>
        </p:nvSpPr>
        <p:spPr/>
        <p:txBody>
          <a:bodyPr/>
          <a:lstStyle/>
          <a:p>
            <a:fld id="{6CC2FB7E-E9FD-AA44-8101-F627C1923673}" type="slidenum">
              <a:rPr lang="en-US" smtClean="0"/>
              <a:pPr/>
              <a:t>10</a:t>
            </a:fld>
            <a:endParaRPr lang="en-US" dirty="0"/>
          </a:p>
        </p:txBody>
      </p:sp>
      <p:sp>
        <p:nvSpPr>
          <p:cNvPr id="14" name="Text Placeholder 13">
            <a:extLst>
              <a:ext uri="{FF2B5EF4-FFF2-40B4-BE49-F238E27FC236}">
                <a16:creationId xmlns:a16="http://schemas.microsoft.com/office/drawing/2014/main" id="{5BF23C8B-8FAA-FAB2-089B-EA0C33D0E23A}"/>
              </a:ext>
            </a:extLst>
          </p:cNvPr>
          <p:cNvSpPr>
            <a:spLocks noGrp="1"/>
          </p:cNvSpPr>
          <p:nvPr>
            <p:ph type="body" sz="quarter" idx="11"/>
          </p:nvPr>
        </p:nvSpPr>
        <p:spPr/>
        <p:txBody>
          <a:bodyPr/>
          <a:lstStyle/>
          <a:p>
            <a:r>
              <a:rPr lang="en-US" sz="2000" dirty="0"/>
              <a:t>Disjointed Landscape of Local Recycling Programs</a:t>
            </a:r>
          </a:p>
        </p:txBody>
      </p:sp>
      <p:grpSp>
        <p:nvGrpSpPr>
          <p:cNvPr id="21" name="Group 20">
            <a:extLst>
              <a:ext uri="{FF2B5EF4-FFF2-40B4-BE49-F238E27FC236}">
                <a16:creationId xmlns:a16="http://schemas.microsoft.com/office/drawing/2014/main" id="{F661548F-481A-71DA-D096-83C0DAFF2F81}"/>
              </a:ext>
            </a:extLst>
          </p:cNvPr>
          <p:cNvGrpSpPr/>
          <p:nvPr/>
        </p:nvGrpSpPr>
        <p:grpSpPr>
          <a:xfrm>
            <a:off x="1130786" y="858559"/>
            <a:ext cx="10043551" cy="5929536"/>
            <a:chOff x="-4881523" y="3858323"/>
            <a:chExt cx="6490858" cy="3432345"/>
          </a:xfrm>
        </p:grpSpPr>
        <p:pic>
          <p:nvPicPr>
            <p:cNvPr id="4098" name="Picture 2">
              <a:extLst>
                <a:ext uri="{FF2B5EF4-FFF2-40B4-BE49-F238E27FC236}">
                  <a16:creationId xmlns:a16="http://schemas.microsoft.com/office/drawing/2014/main" id="{B8729B61-BA05-898E-1A67-53E5188F149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73258" y="4201766"/>
              <a:ext cx="6382593" cy="308890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F0AC092F-8B76-A0CC-C65B-76D8EBA57478}"/>
                </a:ext>
              </a:extLst>
            </p:cNvPr>
            <p:cNvSpPr txBox="1">
              <a:spLocks/>
            </p:cNvSpPr>
            <p:nvPr/>
          </p:nvSpPr>
          <p:spPr>
            <a:xfrm>
              <a:off x="-4881523" y="3858323"/>
              <a:ext cx="5815700" cy="4916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kumimoji="0" lang="en-US" sz="2400" b="1" i="0" u="none" strike="noStrike" kern="1200" cap="none" spc="0" normalizeH="0" baseline="0" noProof="0" dirty="0">
                  <a:ln>
                    <a:noFill/>
                  </a:ln>
                  <a:solidFill>
                    <a:srgbClr val="006372"/>
                  </a:solidFill>
                  <a:effectLst/>
                  <a:uLnTx/>
                  <a:uFillTx/>
                  <a:cs typeface="+mn-cs"/>
                </a:rPr>
                <a:t>9,000+ programs  |  30,000+ communities​</a:t>
              </a:r>
              <a:endParaRPr kumimoji="0" lang="en-US" sz="5400" b="1" i="0" u="none" strike="noStrike" kern="1200" cap="none" spc="0" normalizeH="0" baseline="0" noProof="0" dirty="0">
                <a:ln>
                  <a:noFill/>
                </a:ln>
                <a:solidFill>
                  <a:srgbClr val="006372"/>
                </a:solidFill>
                <a:effectLst/>
                <a:uLnTx/>
                <a:uFillTx/>
                <a:ea typeface="Roboto" panose="02000000000000000000" pitchFamily="2" charset="0"/>
                <a:cs typeface="+mn-cs"/>
              </a:endParaRPr>
            </a:p>
          </p:txBody>
        </p:sp>
      </p:grpSp>
      <p:pic>
        <p:nvPicPr>
          <p:cNvPr id="20" name="Graphic 19">
            <a:extLst>
              <a:ext uri="{FF2B5EF4-FFF2-40B4-BE49-F238E27FC236}">
                <a16:creationId xmlns:a16="http://schemas.microsoft.com/office/drawing/2014/main" id="{D67E3A82-9421-C22C-EC54-89C2B189AAE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208301" y="317016"/>
            <a:ext cx="447666" cy="380850"/>
          </a:xfrm>
          <a:prstGeom prst="rect">
            <a:avLst/>
          </a:prstGeom>
        </p:spPr>
      </p:pic>
      <p:pic>
        <p:nvPicPr>
          <p:cNvPr id="22" name="Graphic 21">
            <a:extLst>
              <a:ext uri="{FF2B5EF4-FFF2-40B4-BE49-F238E27FC236}">
                <a16:creationId xmlns:a16="http://schemas.microsoft.com/office/drawing/2014/main" id="{24574BAC-A97B-B5C6-D882-3F343E262D2E}"/>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517958" y="433387"/>
            <a:ext cx="214313" cy="228600"/>
          </a:xfrm>
          <a:prstGeom prst="rect">
            <a:avLst/>
          </a:prstGeom>
        </p:spPr>
      </p:pic>
    </p:spTree>
    <p:extLst>
      <p:ext uri="{BB962C8B-B14F-4D97-AF65-F5344CB8AC3E}">
        <p14:creationId xmlns:p14="http://schemas.microsoft.com/office/powerpoint/2010/main" val="3735169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44B5614-BC05-EBE8-48BE-561CD8058E3F}"/>
              </a:ext>
            </a:extLst>
          </p:cNvPr>
          <p:cNvGrpSpPr/>
          <p:nvPr/>
        </p:nvGrpSpPr>
        <p:grpSpPr>
          <a:xfrm>
            <a:off x="6336014" y="2445652"/>
            <a:ext cx="4924540" cy="2747674"/>
            <a:chOff x="639091" y="1936750"/>
            <a:chExt cx="7147165" cy="3987800"/>
          </a:xfrm>
        </p:grpSpPr>
        <p:pic>
          <p:nvPicPr>
            <p:cNvPr id="14" name="Picture 13" descr="A picture containing text, monitor, computer, desk&#10;&#10;Description automatically generated">
              <a:extLst>
                <a:ext uri="{FF2B5EF4-FFF2-40B4-BE49-F238E27FC236}">
                  <a16:creationId xmlns:a16="http://schemas.microsoft.com/office/drawing/2014/main" id="{552FDC0A-A6D3-CF23-31D1-FCED922DDFA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9091" y="1936750"/>
              <a:ext cx="7147165" cy="3987800"/>
            </a:xfrm>
            <a:prstGeom prst="rect">
              <a:avLst/>
            </a:prstGeom>
          </p:spPr>
        </p:pic>
        <p:pic>
          <p:nvPicPr>
            <p:cNvPr id="8" name="Picture 7" descr="Graphical user interface, application&#10;&#10;Description automatically generated">
              <a:extLst>
                <a:ext uri="{FF2B5EF4-FFF2-40B4-BE49-F238E27FC236}">
                  <a16:creationId xmlns:a16="http://schemas.microsoft.com/office/drawing/2014/main" id="{CC476034-910E-7D19-B6CC-35257854DF4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46665" y="2158346"/>
              <a:ext cx="5504162" cy="3449386"/>
            </a:xfrm>
            <a:prstGeom prst="rect">
              <a:avLst/>
            </a:prstGeom>
          </p:spPr>
        </p:pic>
      </p:grpSp>
      <p:sp>
        <p:nvSpPr>
          <p:cNvPr id="6" name="Arrow: Right 3">
            <a:extLst>
              <a:ext uri="{FF2B5EF4-FFF2-40B4-BE49-F238E27FC236}">
                <a16:creationId xmlns:a16="http://schemas.microsoft.com/office/drawing/2014/main" id="{87CC7B94-48E5-3CC9-AF41-14964E237EBE}"/>
              </a:ext>
            </a:extLst>
          </p:cNvPr>
          <p:cNvSpPr/>
          <p:nvPr/>
        </p:nvSpPr>
        <p:spPr>
          <a:xfrm>
            <a:off x="5941453" y="3412556"/>
            <a:ext cx="842728" cy="342900"/>
          </a:xfrm>
          <a:prstGeom prst="rightArrow">
            <a:avLst>
              <a:gd name="adj1" fmla="val 57522"/>
              <a:gd name="adj2" fmla="val 846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Rounded Corners 8">
            <a:extLst>
              <a:ext uri="{FF2B5EF4-FFF2-40B4-BE49-F238E27FC236}">
                <a16:creationId xmlns:a16="http://schemas.microsoft.com/office/drawing/2014/main" id="{49A5D4C2-379B-2D1B-D4D8-9958B22B6AFD}"/>
              </a:ext>
            </a:extLst>
          </p:cNvPr>
          <p:cNvSpPr/>
          <p:nvPr/>
        </p:nvSpPr>
        <p:spPr>
          <a:xfrm>
            <a:off x="471632" y="1880783"/>
            <a:ext cx="5607500" cy="3385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2"/>
                </a:solidFill>
                <a:ea typeface="Source Sans Pro"/>
              </a:rPr>
              <a:t>National Recycling Database</a:t>
            </a:r>
            <a:endParaRPr lang="en-US" sz="2800" b="1" dirty="0">
              <a:solidFill>
                <a:schemeClr val="tx2"/>
              </a:solidFill>
            </a:endParaRPr>
          </a:p>
        </p:txBody>
      </p:sp>
      <p:sp>
        <p:nvSpPr>
          <p:cNvPr id="10" name="Slide Number Placeholder 5">
            <a:extLst>
              <a:ext uri="{FF2B5EF4-FFF2-40B4-BE49-F238E27FC236}">
                <a16:creationId xmlns:a16="http://schemas.microsoft.com/office/drawing/2014/main" id="{9D91DB40-D49D-9C23-E07D-B8E099901676}"/>
              </a:ext>
            </a:extLst>
          </p:cNvPr>
          <p:cNvSpPr txBox="1">
            <a:spLocks/>
          </p:cNvSpPr>
          <p:nvPr/>
        </p:nvSpPr>
        <p:spPr>
          <a:xfrm>
            <a:off x="11545506" y="6279006"/>
            <a:ext cx="427419"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CC2FB7E-E9FD-AA44-8101-F627C1923673}" type="slidenum">
              <a:rPr lang="en-US" b="0" smtClean="0">
                <a:solidFill>
                  <a:schemeClr val="tx2"/>
                </a:solidFill>
                <a:latin typeface="+mj-lt"/>
              </a:rPr>
              <a:pPr/>
              <a:t>11</a:t>
            </a:fld>
            <a:endParaRPr lang="en-US" b="0" dirty="0">
              <a:solidFill>
                <a:schemeClr val="tx2"/>
              </a:solidFill>
              <a:latin typeface="+mj-lt"/>
            </a:endParaRPr>
          </a:p>
        </p:txBody>
      </p:sp>
      <p:sp>
        <p:nvSpPr>
          <p:cNvPr id="13" name="TextBox 12">
            <a:extLst>
              <a:ext uri="{FF2B5EF4-FFF2-40B4-BE49-F238E27FC236}">
                <a16:creationId xmlns:a16="http://schemas.microsoft.com/office/drawing/2014/main" id="{589BA723-312C-A33F-96B6-400B507DD707}"/>
              </a:ext>
            </a:extLst>
          </p:cNvPr>
          <p:cNvSpPr txBox="1"/>
          <p:nvPr/>
        </p:nvSpPr>
        <p:spPr>
          <a:xfrm>
            <a:off x="471632" y="328086"/>
            <a:ext cx="10218420" cy="400110"/>
          </a:xfrm>
          <a:prstGeom prst="rect">
            <a:avLst/>
          </a:prstGeom>
          <a:noFill/>
        </p:spPr>
        <p:txBody>
          <a:bodyPr wrap="square" lIns="91440" tIns="45720" rIns="91440" bIns="45720" anchor="t">
            <a:spAutoFit/>
          </a:bodyPr>
          <a:lstStyle/>
          <a:p>
            <a:r>
              <a:rPr lang="en-US" sz="2000" b="1" dirty="0">
                <a:solidFill>
                  <a:schemeClr val="tx2"/>
                </a:solidFill>
                <a:latin typeface="Roboto"/>
                <a:ea typeface="Roboto"/>
                <a:cs typeface="Poppins"/>
              </a:rPr>
              <a:t>Empowering Local Community Recycling Programs</a:t>
            </a:r>
            <a:endParaRPr lang="en-US" sz="2000" b="1" dirty="0">
              <a:solidFill>
                <a:srgbClr val="00A584"/>
              </a:solidFill>
              <a:latin typeface="Roboto"/>
              <a:ea typeface="Roboto"/>
              <a:cs typeface="Roboto"/>
            </a:endParaRPr>
          </a:p>
        </p:txBody>
      </p:sp>
      <p:pic>
        <p:nvPicPr>
          <p:cNvPr id="21" name="Picture 20">
            <a:extLst>
              <a:ext uri="{FF2B5EF4-FFF2-40B4-BE49-F238E27FC236}">
                <a16:creationId xmlns:a16="http://schemas.microsoft.com/office/drawing/2014/main" id="{2D1297A9-E908-9DA8-FBD5-E4F41CFC7BB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1446" y="2445651"/>
            <a:ext cx="5010007" cy="2747675"/>
          </a:xfrm>
          <a:prstGeom prst="roundRect">
            <a:avLst>
              <a:gd name="adj" fmla="val 4187"/>
            </a:avLst>
          </a:prstGeom>
        </p:spPr>
      </p:pic>
      <p:sp>
        <p:nvSpPr>
          <p:cNvPr id="23" name="Arrow: Right 3">
            <a:extLst>
              <a:ext uri="{FF2B5EF4-FFF2-40B4-BE49-F238E27FC236}">
                <a16:creationId xmlns:a16="http://schemas.microsoft.com/office/drawing/2014/main" id="{A75C2C79-8DF5-2B74-1ADF-6A0743923992}"/>
              </a:ext>
            </a:extLst>
          </p:cNvPr>
          <p:cNvSpPr/>
          <p:nvPr/>
        </p:nvSpPr>
        <p:spPr>
          <a:xfrm rot="10800000">
            <a:off x="5941453" y="3959469"/>
            <a:ext cx="849872" cy="342900"/>
          </a:xfrm>
          <a:prstGeom prst="rightArrow">
            <a:avLst>
              <a:gd name="adj1" fmla="val 57522"/>
              <a:gd name="adj2" fmla="val 8469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Graphic 16">
            <a:extLst>
              <a:ext uri="{FF2B5EF4-FFF2-40B4-BE49-F238E27FC236}">
                <a16:creationId xmlns:a16="http://schemas.microsoft.com/office/drawing/2014/main" id="{6FAF7281-3234-716A-22F0-0970ADA1F00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77330" y="433387"/>
            <a:ext cx="261258" cy="228600"/>
          </a:xfrm>
          <a:prstGeom prst="rect">
            <a:avLst/>
          </a:prstGeom>
        </p:spPr>
      </p:pic>
      <p:sp>
        <p:nvSpPr>
          <p:cNvPr id="5" name="Rectangle: Rounded Corners 4">
            <a:extLst>
              <a:ext uri="{FF2B5EF4-FFF2-40B4-BE49-F238E27FC236}">
                <a16:creationId xmlns:a16="http://schemas.microsoft.com/office/drawing/2014/main" id="{91C22A80-0C4F-15E4-55E2-60255C9B9C5E}"/>
              </a:ext>
            </a:extLst>
          </p:cNvPr>
          <p:cNvSpPr/>
          <p:nvPr/>
        </p:nvSpPr>
        <p:spPr>
          <a:xfrm>
            <a:off x="6031088" y="1891823"/>
            <a:ext cx="5607500" cy="32751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2"/>
                </a:solidFill>
              </a:rPr>
              <a:t>Recycling Program Solutions Hub</a:t>
            </a:r>
          </a:p>
        </p:txBody>
      </p:sp>
    </p:spTree>
    <p:extLst>
      <p:ext uri="{BB962C8B-B14F-4D97-AF65-F5344CB8AC3E}">
        <p14:creationId xmlns:p14="http://schemas.microsoft.com/office/powerpoint/2010/main" val="8784737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FA9DBF-9A45-F6E0-C603-0A7069DB8088}"/>
              </a:ext>
            </a:extLst>
          </p:cNvPr>
          <p:cNvSpPr>
            <a:spLocks noGrp="1"/>
          </p:cNvSpPr>
          <p:nvPr>
            <p:ph type="sldNum" sz="quarter" idx="10"/>
          </p:nvPr>
        </p:nvSpPr>
        <p:spPr>
          <a:xfrm>
            <a:off x="11573046" y="6209877"/>
            <a:ext cx="427419" cy="365125"/>
          </a:xfrm>
        </p:spPr>
        <p:txBody>
          <a:bodyPr/>
          <a:lstStyle/>
          <a:p>
            <a:fld id="{6CC2FB7E-E9FD-AA44-8101-F627C1923673}" type="slidenum">
              <a:rPr lang="en-US" smtClean="0"/>
              <a:pPr/>
              <a:t>12</a:t>
            </a:fld>
            <a:endParaRPr lang="en-US" dirty="0"/>
          </a:p>
        </p:txBody>
      </p:sp>
      <p:sp>
        <p:nvSpPr>
          <p:cNvPr id="3" name="Text Placeholder 2">
            <a:extLst>
              <a:ext uri="{FF2B5EF4-FFF2-40B4-BE49-F238E27FC236}">
                <a16:creationId xmlns:a16="http://schemas.microsoft.com/office/drawing/2014/main" id="{5A6D29FB-E9E1-C519-AE77-6DC47BED9693}"/>
              </a:ext>
            </a:extLst>
          </p:cNvPr>
          <p:cNvSpPr>
            <a:spLocks noGrp="1"/>
          </p:cNvSpPr>
          <p:nvPr>
            <p:ph type="body" sz="quarter" idx="11"/>
          </p:nvPr>
        </p:nvSpPr>
        <p:spPr>
          <a:xfrm>
            <a:off x="385908" y="295459"/>
            <a:ext cx="10895013" cy="355600"/>
          </a:xfrm>
        </p:spPr>
        <p:txBody>
          <a:bodyPr/>
          <a:lstStyle/>
          <a:p>
            <a:r>
              <a:rPr lang="en-US" sz="2000" dirty="0"/>
              <a:t>Connecting Data &amp; Improving the System through Digital Tools</a:t>
            </a:r>
          </a:p>
        </p:txBody>
      </p:sp>
      <p:pic>
        <p:nvPicPr>
          <p:cNvPr id="5" name="Picture 4">
            <a:extLst>
              <a:ext uri="{FF2B5EF4-FFF2-40B4-BE49-F238E27FC236}">
                <a16:creationId xmlns:a16="http://schemas.microsoft.com/office/drawing/2014/main" id="{CF66EB80-02DB-943E-D06E-1174003F08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29376" y="1946490"/>
            <a:ext cx="3051545" cy="163215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3B1CEA3C-6441-D752-06B5-79600F4F02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43889" y="1946490"/>
            <a:ext cx="3054671" cy="1628116"/>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E6A34B9C-A7C8-347F-F50B-A550435057B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9461" y="1946490"/>
            <a:ext cx="3162725" cy="1594396"/>
          </a:xfrm>
          <a:prstGeom prst="rect">
            <a:avLst/>
          </a:prstGeom>
          <a:ln>
            <a:noFill/>
          </a:ln>
          <a:effectLst>
            <a:outerShdw blurRad="292100" dist="139700" dir="2700000" algn="tl" rotWithShape="0">
              <a:srgbClr val="333333">
                <a:alpha val="65000"/>
              </a:srgbClr>
            </a:outerShdw>
          </a:effectLst>
        </p:spPr>
      </p:pic>
      <p:sp>
        <p:nvSpPr>
          <p:cNvPr id="4" name="Rectangle: Rounded Corners 3">
            <a:extLst>
              <a:ext uri="{FF2B5EF4-FFF2-40B4-BE49-F238E27FC236}">
                <a16:creationId xmlns:a16="http://schemas.microsoft.com/office/drawing/2014/main" id="{97FFCC45-AE8A-04C5-31DF-AA24676EE5B9}"/>
              </a:ext>
            </a:extLst>
          </p:cNvPr>
          <p:cNvSpPr/>
          <p:nvPr/>
        </p:nvSpPr>
        <p:spPr>
          <a:xfrm>
            <a:off x="8229376" y="4171343"/>
            <a:ext cx="3051546" cy="1502369"/>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t>Recycling Program Solutions Hub</a:t>
            </a:r>
          </a:p>
        </p:txBody>
      </p:sp>
      <p:sp>
        <p:nvSpPr>
          <p:cNvPr id="8" name="Rectangle: Rounded Corners 7">
            <a:extLst>
              <a:ext uri="{FF2B5EF4-FFF2-40B4-BE49-F238E27FC236}">
                <a16:creationId xmlns:a16="http://schemas.microsoft.com/office/drawing/2014/main" id="{1F85316A-17D9-44A2-EACD-E8100B7F531D}"/>
              </a:ext>
            </a:extLst>
          </p:cNvPr>
          <p:cNvSpPr/>
          <p:nvPr/>
        </p:nvSpPr>
        <p:spPr>
          <a:xfrm>
            <a:off x="429460" y="4171344"/>
            <a:ext cx="3162725" cy="1502371"/>
          </a:xfrm>
          <a:prstGeom prst="roundRect">
            <a:avLst/>
          </a:prstGeom>
          <a:solidFill>
            <a:srgbClr val="0063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t>Circular Packaging Assessment</a:t>
            </a:r>
          </a:p>
        </p:txBody>
      </p:sp>
      <p:sp>
        <p:nvSpPr>
          <p:cNvPr id="10" name="Rectangle: Rounded Corners 9">
            <a:extLst>
              <a:ext uri="{FF2B5EF4-FFF2-40B4-BE49-F238E27FC236}">
                <a16:creationId xmlns:a16="http://schemas.microsoft.com/office/drawing/2014/main" id="{6C987B09-4D96-85CE-8307-DE3A3FC4A3B5}"/>
              </a:ext>
            </a:extLst>
          </p:cNvPr>
          <p:cNvSpPr/>
          <p:nvPr/>
        </p:nvSpPr>
        <p:spPr>
          <a:xfrm>
            <a:off x="4438254" y="4171344"/>
            <a:ext cx="3065943" cy="1502369"/>
          </a:xfrm>
          <a:prstGeom prst="roundRect">
            <a:avLst/>
          </a:prstGeom>
          <a:gradFill flip="none" rotWithShape="1">
            <a:gsLst>
              <a:gs pos="0">
                <a:srgbClr val="006372"/>
              </a:gs>
              <a:gs pos="50000">
                <a:schemeClr val="accent1">
                  <a:shade val="67500"/>
                  <a:satMod val="115000"/>
                </a:schemeClr>
              </a:gs>
              <a:gs pos="100000">
                <a:srgbClr val="09CD9E"/>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t>Recycle Check</a:t>
            </a:r>
          </a:p>
        </p:txBody>
      </p:sp>
      <p:pic>
        <p:nvPicPr>
          <p:cNvPr id="16" name="Graphic 15">
            <a:extLst>
              <a:ext uri="{FF2B5EF4-FFF2-40B4-BE49-F238E27FC236}">
                <a16:creationId xmlns:a16="http://schemas.microsoft.com/office/drawing/2014/main" id="{2B988D8D-3DCB-87B9-B5D2-D918FC02213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08301" y="317016"/>
            <a:ext cx="447666" cy="380850"/>
          </a:xfrm>
          <a:prstGeom prst="rect">
            <a:avLst/>
          </a:prstGeom>
        </p:spPr>
      </p:pic>
    </p:spTree>
    <p:extLst>
      <p:ext uri="{BB962C8B-B14F-4D97-AF65-F5344CB8AC3E}">
        <p14:creationId xmlns:p14="http://schemas.microsoft.com/office/powerpoint/2010/main" val="6650582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83DD6F5-EA2B-1DF1-718B-159DCC7D16B6}"/>
              </a:ext>
            </a:extLst>
          </p:cNvPr>
          <p:cNvSpPr>
            <a:spLocks noGrp="1"/>
          </p:cNvSpPr>
          <p:nvPr>
            <p:ph type="body" sz="quarter" idx="11"/>
          </p:nvPr>
        </p:nvSpPr>
        <p:spPr/>
        <p:txBody>
          <a:bodyPr/>
          <a:lstStyle/>
          <a:p>
            <a:r>
              <a:rPr lang="en-US" sz="2000" dirty="0"/>
              <a:t>Circular Packaging Assessment Tool</a:t>
            </a:r>
          </a:p>
        </p:txBody>
      </p:sp>
      <p:pic>
        <p:nvPicPr>
          <p:cNvPr id="12" name="Graphic 11">
            <a:extLst>
              <a:ext uri="{FF2B5EF4-FFF2-40B4-BE49-F238E27FC236}">
                <a16:creationId xmlns:a16="http://schemas.microsoft.com/office/drawing/2014/main" id="{7B30C413-D031-67E3-C514-FACE1108261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65723" y="336198"/>
            <a:ext cx="386535" cy="359410"/>
          </a:xfrm>
          <a:prstGeom prst="rect">
            <a:avLst/>
          </a:prstGeom>
        </p:spPr>
      </p:pic>
      <p:pic>
        <p:nvPicPr>
          <p:cNvPr id="6" name="Picture 5">
            <a:extLst>
              <a:ext uri="{FF2B5EF4-FFF2-40B4-BE49-F238E27FC236}">
                <a16:creationId xmlns:a16="http://schemas.microsoft.com/office/drawing/2014/main" id="{2679D76B-03B1-C380-0C44-951250C564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5416" y="1183038"/>
            <a:ext cx="4974365" cy="4858382"/>
          </a:xfrm>
          <a:prstGeom prst="rect">
            <a:avLst/>
          </a:prstGeom>
        </p:spPr>
      </p:pic>
      <p:pic>
        <p:nvPicPr>
          <p:cNvPr id="7" name="Picture 6">
            <a:extLst>
              <a:ext uri="{FF2B5EF4-FFF2-40B4-BE49-F238E27FC236}">
                <a16:creationId xmlns:a16="http://schemas.microsoft.com/office/drawing/2014/main" id="{82428FDC-ED1A-2ED5-E057-1CA8D23A5A0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1926523"/>
            <a:ext cx="6687706" cy="33714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45451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Isosceles Triangle 18">
            <a:extLst>
              <a:ext uri="{FF2B5EF4-FFF2-40B4-BE49-F238E27FC236}">
                <a16:creationId xmlns:a16="http://schemas.microsoft.com/office/drawing/2014/main" id="{D7F4F75B-D174-109A-D28A-41FC47C2F3B7}"/>
              </a:ext>
            </a:extLst>
          </p:cNvPr>
          <p:cNvSpPr/>
          <p:nvPr/>
        </p:nvSpPr>
        <p:spPr>
          <a:xfrm rot="13020000">
            <a:off x="5022784" y="1241226"/>
            <a:ext cx="815578" cy="4375546"/>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7E6E6"/>
              </a:solidFill>
            </a:endParaRPr>
          </a:p>
        </p:txBody>
      </p:sp>
      <p:sp>
        <p:nvSpPr>
          <p:cNvPr id="7" name="Slide Number Placeholder 3">
            <a:extLst>
              <a:ext uri="{FF2B5EF4-FFF2-40B4-BE49-F238E27FC236}">
                <a16:creationId xmlns:a16="http://schemas.microsoft.com/office/drawing/2014/main" id="{B4771A0B-3E69-B799-3082-E24A23A51122}"/>
              </a:ext>
            </a:extLst>
          </p:cNvPr>
          <p:cNvSpPr>
            <a:spLocks noGrp="1"/>
          </p:cNvSpPr>
          <p:nvPr>
            <p:ph type="sldNum" sz="quarter" idx="10"/>
          </p:nvPr>
        </p:nvSpPr>
        <p:spPr/>
        <p:txBody>
          <a:bodyPr/>
          <a:lstStyle/>
          <a:p>
            <a:fld id="{6E892AB5-C4DB-AD46-B1A0-054C1AD2A4FD}" type="slidenum">
              <a:rPr lang="en-US" smtClean="0"/>
              <a:pPr/>
              <a:t>14</a:t>
            </a:fld>
            <a:endParaRPr lang="en-US" dirty="0"/>
          </a:p>
        </p:txBody>
      </p:sp>
      <p:sp>
        <p:nvSpPr>
          <p:cNvPr id="9" name="TextBox 8">
            <a:extLst>
              <a:ext uri="{FF2B5EF4-FFF2-40B4-BE49-F238E27FC236}">
                <a16:creationId xmlns:a16="http://schemas.microsoft.com/office/drawing/2014/main" id="{4E1F0C7E-51F4-96B4-F2DF-6C8F80FFFAEC}"/>
              </a:ext>
            </a:extLst>
          </p:cNvPr>
          <p:cNvSpPr txBox="1"/>
          <p:nvPr/>
        </p:nvSpPr>
        <p:spPr>
          <a:xfrm>
            <a:off x="452951" y="1449327"/>
            <a:ext cx="3901776" cy="707886"/>
          </a:xfrm>
          <a:prstGeom prst="rect">
            <a:avLst/>
          </a:prstGeom>
          <a:noFill/>
        </p:spPr>
        <p:txBody>
          <a:bodyPr wrap="square" lIns="91440" tIns="45720" rIns="91440" bIns="45720" anchor="t">
            <a:spAutoFit/>
          </a:bodyPr>
          <a:lstStyle/>
          <a:p>
            <a:pPr algn="ctr" defTabSz="543818">
              <a:defRPr/>
            </a:pPr>
            <a:r>
              <a:rPr lang="en-US" sz="2000" b="1" dirty="0">
                <a:latin typeface="+mj-lt"/>
                <a:ea typeface="Roboto"/>
                <a:cs typeface="Poppins"/>
              </a:rPr>
              <a:t>Recycle Check in action </a:t>
            </a:r>
            <a:br>
              <a:rPr lang="en-US" sz="2000" b="1" dirty="0">
                <a:latin typeface="+mj-lt"/>
                <a:ea typeface="Roboto"/>
                <a:cs typeface="Poppins"/>
              </a:rPr>
            </a:br>
            <a:r>
              <a:rPr lang="en-US" sz="2000" b="1" dirty="0">
                <a:latin typeface="+mj-lt"/>
                <a:ea typeface="Roboto"/>
                <a:cs typeface="Poppins"/>
              </a:rPr>
              <a:t>on a PET clamshell</a:t>
            </a:r>
            <a:endParaRPr lang="en-US" sz="2000" b="1" i="0" u="none" strike="noStrike" kern="1200" cap="none" spc="0" normalizeH="0" baseline="0" noProof="0" dirty="0">
              <a:ln>
                <a:noFill/>
              </a:ln>
              <a:effectLst/>
              <a:uLnTx/>
              <a:uFillTx/>
              <a:latin typeface="+mj-lt"/>
              <a:ea typeface="Roboto" panose="02000000000000000000" pitchFamily="2" charset="0"/>
              <a:cs typeface="Poppins" panose="00000500000000000000" pitchFamily="2" charset="0"/>
            </a:endParaRPr>
          </a:p>
        </p:txBody>
      </p:sp>
      <p:pic>
        <p:nvPicPr>
          <p:cNvPr id="3" name="Picture 3" descr="A picture containing diagram&#10;&#10;Description automatically generated">
            <a:extLst>
              <a:ext uri="{FF2B5EF4-FFF2-40B4-BE49-F238E27FC236}">
                <a16:creationId xmlns:a16="http://schemas.microsoft.com/office/drawing/2014/main" id="{E019D0B7-F8BC-6D78-0F80-82A69E7B03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5755" y="2146239"/>
            <a:ext cx="2917970" cy="3331574"/>
          </a:xfrm>
          <a:prstGeom prst="rect">
            <a:avLst/>
          </a:prstGeom>
        </p:spPr>
      </p:pic>
      <p:grpSp>
        <p:nvGrpSpPr>
          <p:cNvPr id="2" name="Group 1">
            <a:extLst>
              <a:ext uri="{FF2B5EF4-FFF2-40B4-BE49-F238E27FC236}">
                <a16:creationId xmlns:a16="http://schemas.microsoft.com/office/drawing/2014/main" id="{8308A920-6CFF-A54B-C446-4229EA29E0C9}"/>
              </a:ext>
            </a:extLst>
          </p:cNvPr>
          <p:cNvGrpSpPr/>
          <p:nvPr/>
        </p:nvGrpSpPr>
        <p:grpSpPr>
          <a:xfrm>
            <a:off x="4887531" y="1337619"/>
            <a:ext cx="3725120" cy="5283151"/>
            <a:chOff x="5306866" y="1574849"/>
            <a:chExt cx="3725120" cy="5283151"/>
          </a:xfrm>
        </p:grpSpPr>
        <p:pic>
          <p:nvPicPr>
            <p:cNvPr id="4" name="Picture 9" descr="Graphical user interface, text, application, chat or text message&#10;&#10;Description automatically generated">
              <a:extLst>
                <a:ext uri="{FF2B5EF4-FFF2-40B4-BE49-F238E27FC236}">
                  <a16:creationId xmlns:a16="http://schemas.microsoft.com/office/drawing/2014/main" id="{6AC9221C-C9D7-82B4-3142-B50A8C8FA3C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06866" y="1574849"/>
              <a:ext cx="3725120" cy="5283151"/>
            </a:xfrm>
            <a:prstGeom prst="rect">
              <a:avLst/>
            </a:prstGeom>
          </p:spPr>
        </p:pic>
        <p:pic>
          <p:nvPicPr>
            <p:cNvPr id="10" name="Picture 10" descr="Graphical user interface, text, application, chat or text message&#10;&#10;Description automatically generated">
              <a:extLst>
                <a:ext uri="{FF2B5EF4-FFF2-40B4-BE49-F238E27FC236}">
                  <a16:creationId xmlns:a16="http://schemas.microsoft.com/office/drawing/2014/main" id="{8B08966E-0C4D-6D03-F883-73078EEE6FD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67205" y="1932435"/>
              <a:ext cx="1805857" cy="3308105"/>
            </a:xfrm>
            <a:prstGeom prst="rect">
              <a:avLst/>
            </a:prstGeom>
          </p:spPr>
        </p:pic>
      </p:grpSp>
      <p:sp>
        <p:nvSpPr>
          <p:cNvPr id="14" name="TextBox 13">
            <a:extLst>
              <a:ext uri="{FF2B5EF4-FFF2-40B4-BE49-F238E27FC236}">
                <a16:creationId xmlns:a16="http://schemas.microsoft.com/office/drawing/2014/main" id="{A302E082-FFF7-944D-4E66-63DD94E331B5}"/>
              </a:ext>
            </a:extLst>
          </p:cNvPr>
          <p:cNvSpPr txBox="1"/>
          <p:nvPr/>
        </p:nvSpPr>
        <p:spPr>
          <a:xfrm>
            <a:off x="8909918" y="1695205"/>
            <a:ext cx="2675648"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000" dirty="0">
              <a:solidFill>
                <a:schemeClr val="tx2"/>
              </a:solidFill>
              <a:cs typeface="Poppins"/>
            </a:endParaRPr>
          </a:p>
          <a:p>
            <a:r>
              <a:rPr lang="en-US" sz="2000" dirty="0">
                <a:solidFill>
                  <a:schemeClr val="tx2"/>
                </a:solidFill>
                <a:cs typeface="Poppins"/>
              </a:rPr>
              <a:t>Geolocation</a:t>
            </a:r>
          </a:p>
          <a:p>
            <a:endParaRPr lang="en-US" sz="2000" dirty="0">
              <a:solidFill>
                <a:schemeClr val="tx2"/>
              </a:solidFill>
              <a:cs typeface="Poppins"/>
            </a:endParaRPr>
          </a:p>
          <a:p>
            <a:r>
              <a:rPr lang="en-US" sz="2000" dirty="0">
                <a:solidFill>
                  <a:schemeClr val="tx2"/>
                </a:solidFill>
                <a:cs typeface="Poppins"/>
              </a:rPr>
              <a:t>Community-specific results</a:t>
            </a:r>
            <a:endParaRPr lang="en-US" sz="2000" dirty="0">
              <a:solidFill>
                <a:schemeClr val="tx2"/>
              </a:solidFill>
            </a:endParaRPr>
          </a:p>
          <a:p>
            <a:endParaRPr lang="en-US" sz="2000" dirty="0">
              <a:solidFill>
                <a:schemeClr val="tx2"/>
              </a:solidFill>
              <a:cs typeface="Poppins"/>
            </a:endParaRPr>
          </a:p>
          <a:p>
            <a:r>
              <a:rPr lang="en-US" sz="2000" dirty="0">
                <a:solidFill>
                  <a:schemeClr val="tx2"/>
                </a:solidFill>
                <a:cs typeface="Poppins"/>
              </a:rPr>
              <a:t>Easy to understand instructions, aligned with</a:t>
            </a:r>
          </a:p>
          <a:p>
            <a:endParaRPr lang="en-US" sz="2000" dirty="0">
              <a:solidFill>
                <a:schemeClr val="tx2"/>
              </a:solidFill>
              <a:cs typeface="Poppins"/>
            </a:endParaRPr>
          </a:p>
          <a:p>
            <a:r>
              <a:rPr lang="en-US" sz="2000" dirty="0">
                <a:solidFill>
                  <a:schemeClr val="tx2"/>
                </a:solidFill>
                <a:cs typeface="Poppins"/>
              </a:rPr>
              <a:t>Digital app and website integrations with SmartLabel</a:t>
            </a:r>
            <a:endParaRPr lang="en-US" sz="2000" dirty="0">
              <a:solidFill>
                <a:schemeClr val="tx2"/>
              </a:solidFill>
            </a:endParaRPr>
          </a:p>
        </p:txBody>
      </p:sp>
      <p:cxnSp>
        <p:nvCxnSpPr>
          <p:cNvPr id="17" name="Straight Arrow Connector 16">
            <a:extLst>
              <a:ext uri="{FF2B5EF4-FFF2-40B4-BE49-F238E27FC236}">
                <a16:creationId xmlns:a16="http://schemas.microsoft.com/office/drawing/2014/main" id="{7474C5C5-6507-7F5C-69F1-D8528C6F8AA3}"/>
              </a:ext>
            </a:extLst>
          </p:cNvPr>
          <p:cNvCxnSpPr>
            <a:cxnSpLocks/>
          </p:cNvCxnSpPr>
          <p:nvPr/>
        </p:nvCxnSpPr>
        <p:spPr>
          <a:xfrm flipH="1">
            <a:off x="7265972" y="2157213"/>
            <a:ext cx="1643946" cy="1117902"/>
          </a:xfrm>
          <a:prstGeom prst="straightConnector1">
            <a:avLst/>
          </a:prstGeom>
          <a:ln w="38100" cap="rnd">
            <a:gradFill>
              <a:gsLst>
                <a:gs pos="0">
                  <a:schemeClr val="accent1"/>
                </a:gs>
                <a:gs pos="100000">
                  <a:schemeClr val="accent1"/>
                </a:gs>
              </a:gsLst>
              <a:lin ang="5400000" scaled="1"/>
            </a:gra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149AAE4-132D-1ED6-F2CD-43B0208AD8BD}"/>
              </a:ext>
            </a:extLst>
          </p:cNvPr>
          <p:cNvCxnSpPr>
            <a:cxnSpLocks/>
          </p:cNvCxnSpPr>
          <p:nvPr/>
        </p:nvCxnSpPr>
        <p:spPr>
          <a:xfrm flipH="1">
            <a:off x="7263660" y="3064287"/>
            <a:ext cx="1596929" cy="1045092"/>
          </a:xfrm>
          <a:prstGeom prst="straightConnector1">
            <a:avLst/>
          </a:prstGeom>
          <a:ln w="38100" cap="rnd">
            <a:gradFill>
              <a:gsLst>
                <a:gs pos="0">
                  <a:schemeClr val="accent1"/>
                </a:gs>
                <a:gs pos="100000">
                  <a:schemeClr val="accent1"/>
                </a:gs>
              </a:gsLst>
              <a:lin ang="5400000" scaled="1"/>
            </a:gra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178E1FAA-FE8A-6C05-18A5-D38F1C490475}"/>
              </a:ext>
            </a:extLst>
          </p:cNvPr>
          <p:cNvCxnSpPr>
            <a:cxnSpLocks/>
          </p:cNvCxnSpPr>
          <p:nvPr/>
        </p:nvCxnSpPr>
        <p:spPr>
          <a:xfrm flipH="1">
            <a:off x="7265972" y="3979194"/>
            <a:ext cx="1594617" cy="600374"/>
          </a:xfrm>
          <a:prstGeom prst="straightConnector1">
            <a:avLst/>
          </a:prstGeom>
          <a:ln w="38100" cap="rnd">
            <a:gradFill>
              <a:gsLst>
                <a:gs pos="0">
                  <a:schemeClr val="accent1"/>
                </a:gs>
                <a:gs pos="100000">
                  <a:schemeClr val="accent1"/>
                </a:gs>
              </a:gsLst>
              <a:lin ang="5400000" scaled="1"/>
            </a:gradFill>
            <a:headEnd type="none"/>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71BD3BC-7926-7003-58C5-1E53E2F35A7A}"/>
              </a:ext>
            </a:extLst>
          </p:cNvPr>
          <p:cNvSpPr txBox="1"/>
          <p:nvPr/>
        </p:nvSpPr>
        <p:spPr>
          <a:xfrm>
            <a:off x="988779" y="5321308"/>
            <a:ext cx="6096000" cy="507831"/>
          </a:xfrm>
          <a:prstGeom prst="rect">
            <a:avLst/>
          </a:prstGeom>
          <a:noFill/>
        </p:spPr>
        <p:txBody>
          <a:bodyPr wrap="square" lIns="91440" tIns="45720" rIns="91440" bIns="45720" anchor="t">
            <a:spAutoFit/>
          </a:bodyPr>
          <a:lstStyle/>
          <a:p>
            <a:endParaRPr lang="en-US" sz="900" dirty="0">
              <a:solidFill>
                <a:schemeClr val="tx1">
                  <a:lumMod val="50000"/>
                  <a:lumOff val="50000"/>
                </a:schemeClr>
              </a:solidFill>
            </a:endParaRPr>
          </a:p>
          <a:p>
            <a:r>
              <a:rPr lang="en-US" sz="900" i="1" dirty="0">
                <a:solidFill>
                  <a:schemeClr val="tx1">
                    <a:lumMod val="50000"/>
                    <a:lumOff val="50000"/>
                  </a:schemeClr>
                </a:solidFill>
                <a:ea typeface="+mn-lt"/>
                <a:cs typeface="+mn-lt"/>
              </a:rPr>
              <a:t>Designed in collaboration with </a:t>
            </a:r>
            <a:r>
              <a:rPr lang="en-US" sz="900" i="1" dirty="0">
                <a:solidFill>
                  <a:schemeClr val="tx1">
                    <a:lumMod val="50000"/>
                    <a:lumOff val="50000"/>
                  </a:schemeClr>
                </a:solidFill>
                <a:ea typeface="+mn-lt"/>
                <a:cs typeface="+mn-lt"/>
                <a:hlinkClick r:id="rId6">
                  <a:extLst>
                    <a:ext uri="{A12FA001-AC4F-418D-AE19-62706E023703}">
                      <ahyp:hlinkClr xmlns:ahyp="http://schemas.microsoft.com/office/drawing/2018/hyperlinkcolor" val="tx"/>
                    </a:ext>
                  </a:extLst>
                </a:hlinkClick>
              </a:rPr>
              <a:t>Yerecic Label</a:t>
            </a:r>
            <a:r>
              <a:rPr lang="en-US" sz="900" i="1" dirty="0">
                <a:solidFill>
                  <a:schemeClr val="tx1">
                    <a:lumMod val="50000"/>
                    <a:lumOff val="50000"/>
                  </a:schemeClr>
                </a:solidFill>
                <a:ea typeface="+mn-lt"/>
                <a:cs typeface="+mn-lt"/>
              </a:rPr>
              <a:t>.</a:t>
            </a:r>
            <a:endParaRPr lang="en-US" dirty="0">
              <a:solidFill>
                <a:schemeClr val="tx1">
                  <a:lumMod val="50000"/>
                  <a:lumOff val="50000"/>
                </a:schemeClr>
              </a:solidFill>
            </a:endParaRPr>
          </a:p>
          <a:p>
            <a:endParaRPr lang="en-US" sz="900" b="0" i="0" u="none" strike="noStrike" baseline="0" dirty="0">
              <a:solidFill>
                <a:schemeClr val="tx1">
                  <a:lumMod val="50000"/>
                  <a:lumOff val="50000"/>
                </a:schemeClr>
              </a:solidFill>
            </a:endParaRPr>
          </a:p>
        </p:txBody>
      </p:sp>
      <p:pic>
        <p:nvPicPr>
          <p:cNvPr id="5" name="Picture 5">
            <a:extLst>
              <a:ext uri="{FF2B5EF4-FFF2-40B4-BE49-F238E27FC236}">
                <a16:creationId xmlns:a16="http://schemas.microsoft.com/office/drawing/2014/main" id="{7C2AA220-1E6A-58C7-9DB5-A881AB0972F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57103" y="4109379"/>
            <a:ext cx="1988467" cy="492556"/>
          </a:xfrm>
          <a:prstGeom prst="rect">
            <a:avLst/>
          </a:prstGeom>
        </p:spPr>
      </p:pic>
      <p:sp>
        <p:nvSpPr>
          <p:cNvPr id="6" name="Text Placeholder 2">
            <a:extLst>
              <a:ext uri="{FF2B5EF4-FFF2-40B4-BE49-F238E27FC236}">
                <a16:creationId xmlns:a16="http://schemas.microsoft.com/office/drawing/2014/main" id="{FEC72BEE-0195-09B5-1642-36FAD4391052}"/>
              </a:ext>
            </a:extLst>
          </p:cNvPr>
          <p:cNvSpPr txBox="1">
            <a:spLocks/>
          </p:cNvSpPr>
          <p:nvPr/>
        </p:nvSpPr>
        <p:spPr>
          <a:xfrm>
            <a:off x="354011" y="369887"/>
            <a:ext cx="10895013" cy="355600"/>
          </a:xfrm>
          <a:prstGeom prst="rect">
            <a:avLst/>
          </a:prstGeom>
        </p:spPr>
        <p:txBody>
          <a:bodyPr/>
          <a:lstStyle>
            <a:lvl1pPr marL="0" indent="0" algn="l" defTabSz="914400" rtl="0" eaLnBrk="1" latinLnBrk="0" hangingPunct="1">
              <a:lnSpc>
                <a:spcPct val="90000"/>
              </a:lnSpc>
              <a:spcBef>
                <a:spcPts val="1000"/>
              </a:spcBef>
              <a:buFont typeface="Arial"/>
              <a:buNone/>
              <a:defRPr sz="1600" b="1" kern="1200">
                <a:solidFill>
                  <a:schemeClr val="tx2"/>
                </a:solidFill>
                <a:latin typeface="+mj-lt"/>
                <a:ea typeface="+mn-ea"/>
                <a:cs typeface="+mn-cs"/>
              </a:defRPr>
            </a:lvl1pPr>
            <a:lvl2pPr marL="4572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2000" dirty="0"/>
              <a:t>Recycle Check:  Connecting Companies, Communities, and Consumers</a:t>
            </a:r>
          </a:p>
        </p:txBody>
      </p:sp>
      <p:pic>
        <p:nvPicPr>
          <p:cNvPr id="12" name="Graphic 11">
            <a:extLst>
              <a:ext uri="{FF2B5EF4-FFF2-40B4-BE49-F238E27FC236}">
                <a16:creationId xmlns:a16="http://schemas.microsoft.com/office/drawing/2014/main" id="{09F8DA43-A6E8-8CC8-F228-7DA0B990779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486905" y="171014"/>
            <a:ext cx="267953" cy="472858"/>
          </a:xfrm>
          <a:prstGeom prst="rect">
            <a:avLst/>
          </a:prstGeom>
        </p:spPr>
      </p:pic>
      <p:cxnSp>
        <p:nvCxnSpPr>
          <p:cNvPr id="13" name="Straight Arrow Connector 12">
            <a:extLst>
              <a:ext uri="{FF2B5EF4-FFF2-40B4-BE49-F238E27FC236}">
                <a16:creationId xmlns:a16="http://schemas.microsoft.com/office/drawing/2014/main" id="{E341EEFB-3D48-890A-6264-62C8995FD4C4}"/>
              </a:ext>
            </a:extLst>
          </p:cNvPr>
          <p:cNvCxnSpPr>
            <a:cxnSpLocks/>
          </p:cNvCxnSpPr>
          <p:nvPr/>
        </p:nvCxnSpPr>
        <p:spPr>
          <a:xfrm flipH="1" flipV="1">
            <a:off x="7263660" y="4849476"/>
            <a:ext cx="1589823" cy="542763"/>
          </a:xfrm>
          <a:prstGeom prst="straightConnector1">
            <a:avLst/>
          </a:prstGeom>
          <a:ln w="38100" cap="rnd">
            <a:gradFill>
              <a:gsLst>
                <a:gs pos="0">
                  <a:schemeClr val="accent1"/>
                </a:gs>
                <a:gs pos="100000">
                  <a:schemeClr val="accent1"/>
                </a:gs>
              </a:gsLst>
              <a:lin ang="5400000" scaled="1"/>
            </a:gra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526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E3FF372-98E3-D878-3894-A14D68459196}"/>
              </a:ext>
            </a:extLst>
          </p:cNvPr>
          <p:cNvGrpSpPr/>
          <p:nvPr/>
        </p:nvGrpSpPr>
        <p:grpSpPr>
          <a:xfrm>
            <a:off x="4725563" y="1846308"/>
            <a:ext cx="7361272" cy="4107261"/>
            <a:chOff x="639091" y="2080462"/>
            <a:chExt cx="7147165" cy="3987800"/>
          </a:xfrm>
        </p:grpSpPr>
        <p:pic>
          <p:nvPicPr>
            <p:cNvPr id="14" name="Picture 13" descr="A picture containing text, monitor, computer, desk&#10;&#10;Description automatically generated">
              <a:extLst>
                <a:ext uri="{FF2B5EF4-FFF2-40B4-BE49-F238E27FC236}">
                  <a16:creationId xmlns:a16="http://schemas.microsoft.com/office/drawing/2014/main" id="{552FDC0A-A6D3-CF23-31D1-FCED922DDFA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9091" y="2080462"/>
              <a:ext cx="7147165" cy="3987800"/>
            </a:xfrm>
            <a:prstGeom prst="rect">
              <a:avLst/>
            </a:prstGeom>
          </p:spPr>
        </p:pic>
        <p:pic>
          <p:nvPicPr>
            <p:cNvPr id="8" name="Picture 7" descr="Graphical user interface, application&#10;&#10;Description automatically generated">
              <a:extLst>
                <a:ext uri="{FF2B5EF4-FFF2-40B4-BE49-F238E27FC236}">
                  <a16:creationId xmlns:a16="http://schemas.microsoft.com/office/drawing/2014/main" id="{CC476034-910E-7D19-B6CC-35257854DF4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46667" y="2322269"/>
              <a:ext cx="5504162" cy="3449385"/>
            </a:xfrm>
            <a:prstGeom prst="rect">
              <a:avLst/>
            </a:prstGeom>
          </p:spPr>
        </p:pic>
      </p:grpSp>
      <p:sp>
        <p:nvSpPr>
          <p:cNvPr id="2" name="TextBox 1">
            <a:extLst>
              <a:ext uri="{FF2B5EF4-FFF2-40B4-BE49-F238E27FC236}">
                <a16:creationId xmlns:a16="http://schemas.microsoft.com/office/drawing/2014/main" id="{6DBBD036-6E55-9648-C289-34DECA58084D}"/>
              </a:ext>
            </a:extLst>
          </p:cNvPr>
          <p:cNvSpPr txBox="1"/>
          <p:nvPr/>
        </p:nvSpPr>
        <p:spPr>
          <a:xfrm>
            <a:off x="412996" y="1908824"/>
            <a:ext cx="4403309" cy="3139321"/>
          </a:xfrm>
          <a:prstGeom prst="rect">
            <a:avLst/>
          </a:prstGeom>
          <a:noFill/>
        </p:spPr>
        <p:txBody>
          <a:bodyPr wrap="square" lIns="91440" tIns="45720" rIns="91440" bIns="45720" rtlCol="0" anchor="t">
            <a:spAutoFit/>
          </a:bodyPr>
          <a:lstStyle/>
          <a:p>
            <a:pPr>
              <a:lnSpc>
                <a:spcPct val="110000"/>
              </a:lnSpc>
              <a:spcAft>
                <a:spcPts val="1200"/>
              </a:spcAft>
            </a:pPr>
            <a:r>
              <a:rPr lang="en-US" sz="2000" b="1" dirty="0">
                <a:ea typeface="+mn-lt"/>
                <a:cs typeface="+mn-lt"/>
              </a:rPr>
              <a:t>The Recycling Program Solutions Hub </a:t>
            </a:r>
            <a:r>
              <a:rPr lang="en-US" sz="2000" dirty="0">
                <a:ea typeface="+mn-lt"/>
                <a:cs typeface="+mn-lt"/>
              </a:rPr>
              <a:t>is a free tool for recycling program managers to </a:t>
            </a:r>
            <a:r>
              <a:rPr lang="en-US" sz="2000" b="1" dirty="0">
                <a:ea typeface="+mn-lt"/>
                <a:cs typeface="+mn-lt"/>
              </a:rPr>
              <a:t>access and verify</a:t>
            </a:r>
            <a:r>
              <a:rPr lang="en-US" sz="2000" dirty="0">
                <a:ea typeface="+mn-lt"/>
                <a:cs typeface="+mn-lt"/>
              </a:rPr>
              <a:t> critical recycling program data. </a:t>
            </a:r>
          </a:p>
          <a:p>
            <a:endParaRPr lang="en-US" sz="2000" dirty="0">
              <a:ea typeface="+mn-lt"/>
              <a:cs typeface="+mn-lt"/>
            </a:endParaRPr>
          </a:p>
          <a:p>
            <a:pPr marL="342900" indent="-342900">
              <a:buFont typeface="Arial" panose="020B0604020202020204" pitchFamily="34" charset="0"/>
              <a:buChar char="•"/>
            </a:pPr>
            <a:r>
              <a:rPr lang="en-US" sz="2000" b="1" dirty="0">
                <a:ea typeface="+mn-lt"/>
                <a:cs typeface="+mn-lt"/>
              </a:rPr>
              <a:t>Interactive Data Map</a:t>
            </a:r>
          </a:p>
          <a:p>
            <a:pPr marL="342900" indent="-342900">
              <a:buFont typeface="Arial" panose="020B0604020202020204" pitchFamily="34" charset="0"/>
              <a:buChar char="•"/>
            </a:pPr>
            <a:r>
              <a:rPr lang="en-US" sz="2000" b="1" dirty="0">
                <a:ea typeface="+mn-lt"/>
                <a:cs typeface="+mn-lt"/>
              </a:rPr>
              <a:t>Custom Recommendations</a:t>
            </a:r>
          </a:p>
          <a:p>
            <a:pPr marL="342900" indent="-342900">
              <a:buFont typeface="Arial" panose="020B0604020202020204" pitchFamily="34" charset="0"/>
              <a:buChar char="•"/>
            </a:pPr>
            <a:r>
              <a:rPr lang="en-US" sz="2000" b="1" dirty="0">
                <a:ea typeface="+mn-lt"/>
                <a:cs typeface="+mn-lt"/>
              </a:rPr>
              <a:t>Learning Hub &amp; Resources</a:t>
            </a:r>
          </a:p>
          <a:p>
            <a:pPr marL="342900" indent="-342900">
              <a:buFont typeface="Arial" panose="020B0604020202020204" pitchFamily="34" charset="0"/>
              <a:buChar char="•"/>
            </a:pPr>
            <a:r>
              <a:rPr lang="en-US" sz="2000" b="1" dirty="0">
                <a:ea typeface="+mn-lt"/>
                <a:cs typeface="+mn-lt"/>
              </a:rPr>
              <a:t>Peer to Peer Connections </a:t>
            </a:r>
          </a:p>
        </p:txBody>
      </p:sp>
      <p:sp>
        <p:nvSpPr>
          <p:cNvPr id="5" name="Text Placeholder 2">
            <a:extLst>
              <a:ext uri="{FF2B5EF4-FFF2-40B4-BE49-F238E27FC236}">
                <a16:creationId xmlns:a16="http://schemas.microsoft.com/office/drawing/2014/main" id="{A0081023-A646-1C90-357C-892E9578E14A}"/>
              </a:ext>
            </a:extLst>
          </p:cNvPr>
          <p:cNvSpPr>
            <a:spLocks noGrp="1"/>
          </p:cNvSpPr>
          <p:nvPr>
            <p:ph type="body" sz="quarter" idx="11"/>
          </p:nvPr>
        </p:nvSpPr>
        <p:spPr>
          <a:xfrm>
            <a:off x="354011" y="369887"/>
            <a:ext cx="10895013" cy="355600"/>
          </a:xfrm>
        </p:spPr>
        <p:txBody>
          <a:bodyPr lIns="91440" tIns="45720" rIns="91440" bIns="45720" anchor="t"/>
          <a:lstStyle/>
          <a:p>
            <a:r>
              <a:rPr lang="en-US" sz="2000" dirty="0">
                <a:cs typeface="Poppins"/>
              </a:rPr>
              <a:t>Recycling Program Solutions Hub</a:t>
            </a:r>
            <a:endParaRPr lang="en-US" sz="2000" dirty="0"/>
          </a:p>
        </p:txBody>
      </p:sp>
      <p:sp>
        <p:nvSpPr>
          <p:cNvPr id="6" name="Slide Number Placeholder 3">
            <a:extLst>
              <a:ext uri="{FF2B5EF4-FFF2-40B4-BE49-F238E27FC236}">
                <a16:creationId xmlns:a16="http://schemas.microsoft.com/office/drawing/2014/main" id="{AB7E30B5-C414-E5D5-10B5-50C930C603E4}"/>
              </a:ext>
            </a:extLst>
          </p:cNvPr>
          <p:cNvSpPr>
            <a:spLocks noGrp="1"/>
          </p:cNvSpPr>
          <p:nvPr>
            <p:ph type="sldNum" sz="quarter" idx="10"/>
          </p:nvPr>
        </p:nvSpPr>
        <p:spPr>
          <a:xfrm>
            <a:off x="11541149" y="6284305"/>
            <a:ext cx="427419" cy="365125"/>
          </a:xfrm>
        </p:spPr>
        <p:txBody>
          <a:bodyPr/>
          <a:lstStyle/>
          <a:p>
            <a:fld id="{6E892AB5-C4DB-AD46-B1A0-054C1AD2A4FD}" type="slidenum">
              <a:rPr lang="en-US" smtClean="0"/>
              <a:pPr/>
              <a:t>15</a:t>
            </a:fld>
            <a:endParaRPr lang="en-US" dirty="0"/>
          </a:p>
        </p:txBody>
      </p:sp>
      <p:pic>
        <p:nvPicPr>
          <p:cNvPr id="3" name="Graphic 2">
            <a:extLst>
              <a:ext uri="{FF2B5EF4-FFF2-40B4-BE49-F238E27FC236}">
                <a16:creationId xmlns:a16="http://schemas.microsoft.com/office/drawing/2014/main" id="{FDD13035-B575-BC47-0458-EEF10FE45B12}"/>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472580" y="433387"/>
            <a:ext cx="261258" cy="228600"/>
          </a:xfrm>
          <a:prstGeom prst="rect">
            <a:avLst/>
          </a:prstGeom>
        </p:spPr>
      </p:pic>
      <p:sp>
        <p:nvSpPr>
          <p:cNvPr id="9" name="TextBox 8">
            <a:extLst>
              <a:ext uri="{FF2B5EF4-FFF2-40B4-BE49-F238E27FC236}">
                <a16:creationId xmlns:a16="http://schemas.microsoft.com/office/drawing/2014/main" id="{FC7EC238-6C67-EAE2-6CE7-567D3D142D95}"/>
              </a:ext>
            </a:extLst>
          </p:cNvPr>
          <p:cNvSpPr txBox="1"/>
          <p:nvPr/>
        </p:nvSpPr>
        <p:spPr>
          <a:xfrm>
            <a:off x="0" y="1053907"/>
            <a:ext cx="12191999" cy="461665"/>
          </a:xfrm>
          <a:prstGeom prst="rect">
            <a:avLst/>
          </a:prstGeom>
          <a:solidFill>
            <a:srgbClr val="244C5A"/>
          </a:solidFill>
        </p:spPr>
        <p:txBody>
          <a:bodyPr wrap="square">
            <a:spAutoFit/>
          </a:bodyPr>
          <a:lstStyle/>
          <a:p>
            <a:pPr algn="ctr"/>
            <a:r>
              <a:rPr lang="en-US" sz="2400" b="1" dirty="0">
                <a:solidFill>
                  <a:schemeClr val="bg1"/>
                </a:solidFill>
                <a:ea typeface="+mn-lt"/>
                <a:cs typeface="+mn-lt"/>
              </a:rPr>
              <a:t>Giving local program managers control over the accuracy of program data</a:t>
            </a:r>
            <a:endParaRPr lang="en-US" sz="2400" b="1" dirty="0">
              <a:solidFill>
                <a:schemeClr val="bg1"/>
              </a:solidFill>
            </a:endParaRPr>
          </a:p>
        </p:txBody>
      </p:sp>
      <p:sp>
        <p:nvSpPr>
          <p:cNvPr id="10" name="TextBox 9">
            <a:extLst>
              <a:ext uri="{FF2B5EF4-FFF2-40B4-BE49-F238E27FC236}">
                <a16:creationId xmlns:a16="http://schemas.microsoft.com/office/drawing/2014/main" id="{C0EB4BA3-66D6-2394-8F05-6F39B29F8999}"/>
              </a:ext>
            </a:extLst>
          </p:cNvPr>
          <p:cNvSpPr txBox="1"/>
          <p:nvPr/>
        </p:nvSpPr>
        <p:spPr>
          <a:xfrm>
            <a:off x="5930862" y="6202620"/>
            <a:ext cx="4950673" cy="369332"/>
          </a:xfrm>
          <a:prstGeom prst="rect">
            <a:avLst/>
          </a:prstGeom>
          <a:noFill/>
        </p:spPr>
        <p:txBody>
          <a:bodyPr wrap="square">
            <a:spAutoFit/>
          </a:bodyPr>
          <a:lstStyle/>
          <a:p>
            <a:r>
              <a:rPr lang="en-US" dirty="0">
                <a:solidFill>
                  <a:schemeClr val="tx2"/>
                </a:solidFill>
              </a:rPr>
              <a:t>https://community.recyclingpartnership.org</a:t>
            </a:r>
          </a:p>
        </p:txBody>
      </p:sp>
    </p:spTree>
    <p:extLst>
      <p:ext uri="{BB962C8B-B14F-4D97-AF65-F5344CB8AC3E}">
        <p14:creationId xmlns:p14="http://schemas.microsoft.com/office/powerpoint/2010/main" val="667673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F89684-8945-DAB0-8A95-8D8179BB3C9C}"/>
              </a:ext>
            </a:extLst>
          </p:cNvPr>
          <p:cNvSpPr>
            <a:spLocks noGrp="1"/>
          </p:cNvSpPr>
          <p:nvPr>
            <p:ph type="sldNum" sz="quarter" idx="10"/>
          </p:nvPr>
        </p:nvSpPr>
        <p:spPr/>
        <p:txBody>
          <a:bodyPr/>
          <a:lstStyle/>
          <a:p>
            <a:fld id="{6CC2FB7E-E9FD-AA44-8101-F627C1923673}" type="slidenum">
              <a:rPr lang="en-US" smtClean="0"/>
              <a:pPr/>
              <a:t>16</a:t>
            </a:fld>
            <a:endParaRPr lang="en-US"/>
          </a:p>
        </p:txBody>
      </p:sp>
      <p:pic>
        <p:nvPicPr>
          <p:cNvPr id="5" name="Picture 4">
            <a:extLst>
              <a:ext uri="{FF2B5EF4-FFF2-40B4-BE49-F238E27FC236}">
                <a16:creationId xmlns:a16="http://schemas.microsoft.com/office/drawing/2014/main" id="{12A1EDE6-3C48-517E-C087-E569FC45241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1227" y="-109772"/>
            <a:ext cx="11949546" cy="6207098"/>
          </a:xfrm>
          <a:prstGeom prst="rect">
            <a:avLst/>
          </a:prstGeom>
        </p:spPr>
      </p:pic>
    </p:spTree>
    <p:extLst>
      <p:ext uri="{BB962C8B-B14F-4D97-AF65-F5344CB8AC3E}">
        <p14:creationId xmlns:p14="http://schemas.microsoft.com/office/powerpoint/2010/main" val="599753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9F100B-F66A-66EF-2985-30F66F14B2F8}"/>
              </a:ext>
            </a:extLst>
          </p:cNvPr>
          <p:cNvSpPr>
            <a:spLocks noGrp="1"/>
          </p:cNvSpPr>
          <p:nvPr>
            <p:ph type="sldNum" sz="quarter" idx="10"/>
          </p:nvPr>
        </p:nvSpPr>
        <p:spPr/>
        <p:txBody>
          <a:bodyPr/>
          <a:lstStyle/>
          <a:p>
            <a:fld id="{6CC2FB7E-E9FD-AA44-8101-F627C1923673}" type="slidenum">
              <a:rPr lang="en-US" smtClean="0"/>
              <a:pPr/>
              <a:t>17</a:t>
            </a:fld>
            <a:endParaRPr lang="en-US"/>
          </a:p>
        </p:txBody>
      </p:sp>
      <p:pic>
        <p:nvPicPr>
          <p:cNvPr id="4" name="Picture 3">
            <a:extLst>
              <a:ext uri="{FF2B5EF4-FFF2-40B4-BE49-F238E27FC236}">
                <a16:creationId xmlns:a16="http://schemas.microsoft.com/office/drawing/2014/main" id="{225FDC02-8FD5-4447-341D-B4BC105C6A3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83790" y="187124"/>
            <a:ext cx="5857932" cy="3386934"/>
          </a:xfrm>
          <a:prstGeom prst="rect">
            <a:avLst/>
          </a:prstGeom>
        </p:spPr>
      </p:pic>
      <p:pic>
        <p:nvPicPr>
          <p:cNvPr id="3" name="Picture 2">
            <a:extLst>
              <a:ext uri="{FF2B5EF4-FFF2-40B4-BE49-F238E27FC236}">
                <a16:creationId xmlns:a16="http://schemas.microsoft.com/office/drawing/2014/main" id="{F00222EB-23FD-7D22-7553-610D1950A4F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687498" y="3681248"/>
            <a:ext cx="8281070" cy="3176752"/>
          </a:xfrm>
          <a:prstGeom prst="rect">
            <a:avLst/>
          </a:prstGeom>
        </p:spPr>
      </p:pic>
      <p:pic>
        <p:nvPicPr>
          <p:cNvPr id="8" name="Picture 4">
            <a:extLst>
              <a:ext uri="{FF2B5EF4-FFF2-40B4-BE49-F238E27FC236}">
                <a16:creationId xmlns:a16="http://schemas.microsoft.com/office/drawing/2014/main" id="{594FD6AF-D324-C2DF-582F-6FDFDBECB4C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3432" y="870272"/>
            <a:ext cx="3254170" cy="4340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468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chair with her hands up&#10;&#10;Description automatically generated">
            <a:extLst>
              <a:ext uri="{FF2B5EF4-FFF2-40B4-BE49-F238E27FC236}">
                <a16:creationId xmlns:a16="http://schemas.microsoft.com/office/drawing/2014/main" id="{31C571B0-BB65-5079-BCE1-DE12D43894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20" y="-110401"/>
            <a:ext cx="12191980" cy="6856718"/>
          </a:xfrm>
          <a:prstGeom prst="rect">
            <a:avLst/>
          </a:prstGeom>
        </p:spPr>
      </p:pic>
      <p:sp>
        <p:nvSpPr>
          <p:cNvPr id="2" name="Slide Number Placeholder 1">
            <a:extLst>
              <a:ext uri="{FF2B5EF4-FFF2-40B4-BE49-F238E27FC236}">
                <a16:creationId xmlns:a16="http://schemas.microsoft.com/office/drawing/2014/main" id="{9915954A-E9BA-2C9B-31DE-98251C2BC096}"/>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lgn="r">
              <a:spcAft>
                <a:spcPts val="600"/>
              </a:spcAft>
            </a:pPr>
            <a:fld id="{6CC2FB7E-E9FD-AA44-8101-F627C1923673}" type="slidenum">
              <a:rPr lang="en-US">
                <a:solidFill>
                  <a:srgbClr val="FFFFFF"/>
                </a:solidFill>
              </a:rPr>
              <a:pPr algn="r">
                <a:spcAft>
                  <a:spcPts val="600"/>
                </a:spcAft>
              </a:pPr>
              <a:t>18</a:t>
            </a:fld>
            <a:endParaRPr lang="en-US">
              <a:solidFill>
                <a:srgbClr val="FFFFFF"/>
              </a:solidFill>
            </a:endParaRPr>
          </a:p>
        </p:txBody>
      </p:sp>
    </p:spTree>
    <p:extLst>
      <p:ext uri="{BB962C8B-B14F-4D97-AF65-F5344CB8AC3E}">
        <p14:creationId xmlns:p14="http://schemas.microsoft.com/office/powerpoint/2010/main" val="2924576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chair with her hands up&#10;&#10;Description automatically generated">
            <a:extLst>
              <a:ext uri="{FF2B5EF4-FFF2-40B4-BE49-F238E27FC236}">
                <a16:creationId xmlns:a16="http://schemas.microsoft.com/office/drawing/2014/main" id="{31C571B0-BB65-5079-BCE1-DE12D43894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20" y="1282"/>
            <a:ext cx="12191980" cy="6856718"/>
          </a:xfrm>
          <a:prstGeom prst="rect">
            <a:avLst/>
          </a:prstGeom>
        </p:spPr>
      </p:pic>
      <p:sp>
        <p:nvSpPr>
          <p:cNvPr id="2" name="Slide Number Placeholder 1">
            <a:extLst>
              <a:ext uri="{FF2B5EF4-FFF2-40B4-BE49-F238E27FC236}">
                <a16:creationId xmlns:a16="http://schemas.microsoft.com/office/drawing/2014/main" id="{9915954A-E9BA-2C9B-31DE-98251C2BC096}"/>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lgn="r">
              <a:spcAft>
                <a:spcPts val="600"/>
              </a:spcAft>
            </a:pPr>
            <a:fld id="{6CC2FB7E-E9FD-AA44-8101-F627C1923673}" type="slidenum">
              <a:rPr lang="en-US">
                <a:solidFill>
                  <a:srgbClr val="FFFFFF"/>
                </a:solidFill>
              </a:rPr>
              <a:pPr algn="r">
                <a:spcAft>
                  <a:spcPts val="600"/>
                </a:spcAft>
              </a:pPr>
              <a:t>19</a:t>
            </a:fld>
            <a:endParaRPr lang="en-US">
              <a:solidFill>
                <a:srgbClr val="FFFFFF"/>
              </a:solidFill>
            </a:endParaRPr>
          </a:p>
        </p:txBody>
      </p:sp>
      <p:sp>
        <p:nvSpPr>
          <p:cNvPr id="3" name="Rectangle: Rounded Corners 2">
            <a:extLst>
              <a:ext uri="{FF2B5EF4-FFF2-40B4-BE49-F238E27FC236}">
                <a16:creationId xmlns:a16="http://schemas.microsoft.com/office/drawing/2014/main" id="{7CBF6BA3-C26A-0E63-9230-E3216F87B1B8}"/>
              </a:ext>
            </a:extLst>
          </p:cNvPr>
          <p:cNvSpPr/>
          <p:nvPr/>
        </p:nvSpPr>
        <p:spPr>
          <a:xfrm>
            <a:off x="677075" y="739896"/>
            <a:ext cx="10819236" cy="5616454"/>
          </a:xfrm>
          <a:prstGeom prst="roundRect">
            <a:avLst/>
          </a:prstGeom>
          <a:solidFill>
            <a:srgbClr val="BBBBBB">
              <a:alpha val="89804"/>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14350" indent="-514350">
              <a:buAutoNum type="arabicPeriod"/>
            </a:pPr>
            <a:r>
              <a:rPr lang="en-US" sz="3200" b="1" dirty="0">
                <a:solidFill>
                  <a:schemeClr val="tx2"/>
                </a:solidFill>
              </a:rPr>
              <a:t>The wind is at recycling’s back – but it’s squirrely</a:t>
            </a:r>
            <a:r>
              <a:rPr lang="en-US" sz="3200" dirty="0">
                <a:solidFill>
                  <a:schemeClr val="tx2"/>
                </a:solidFill>
              </a:rPr>
              <a:t>.  Global, federal, state, public.  The better connected you are to trends, the easier the transition. </a:t>
            </a:r>
          </a:p>
          <a:p>
            <a:pPr marL="514350" indent="-514350">
              <a:buAutoNum type="arabicPeriod"/>
            </a:pPr>
            <a:r>
              <a:rPr lang="en-US" sz="3200" b="1" dirty="0">
                <a:solidFill>
                  <a:schemeClr val="tx2"/>
                </a:solidFill>
              </a:rPr>
              <a:t>You can shape the data </a:t>
            </a:r>
            <a:r>
              <a:rPr lang="en-US" sz="3200" dirty="0">
                <a:solidFill>
                  <a:schemeClr val="tx2"/>
                </a:solidFill>
              </a:rPr>
              <a:t>that shapes how things enter and exit your recycling program.</a:t>
            </a:r>
          </a:p>
          <a:p>
            <a:pPr marL="514350" indent="-514350">
              <a:buAutoNum type="arabicPeriod"/>
            </a:pPr>
            <a:r>
              <a:rPr lang="en-US" sz="3200" b="1" dirty="0">
                <a:solidFill>
                  <a:schemeClr val="tx2"/>
                </a:solidFill>
              </a:rPr>
              <a:t>The size of the solution needs to meet the size of the challenge.  </a:t>
            </a:r>
            <a:r>
              <a:rPr lang="en-US" sz="3200" dirty="0">
                <a:solidFill>
                  <a:schemeClr val="tx2"/>
                </a:solidFill>
              </a:rPr>
              <a:t>Public-private solutions needed to deliver a $17B solution.  </a:t>
            </a:r>
            <a:endParaRPr lang="en-US" sz="3200" b="1" dirty="0">
              <a:solidFill>
                <a:schemeClr val="tx2"/>
              </a:solidFill>
            </a:endParaRPr>
          </a:p>
          <a:p>
            <a:pPr marL="514350" indent="-514350">
              <a:buAutoNum type="arabicPeriod"/>
            </a:pPr>
            <a:endParaRPr lang="en-US" sz="3200" dirty="0">
              <a:solidFill>
                <a:sysClr val="windowText" lastClr="000000"/>
              </a:solidFill>
            </a:endParaRPr>
          </a:p>
        </p:txBody>
      </p:sp>
    </p:spTree>
    <p:extLst>
      <p:ext uri="{BB962C8B-B14F-4D97-AF65-F5344CB8AC3E}">
        <p14:creationId xmlns:p14="http://schemas.microsoft.com/office/powerpoint/2010/main" val="4122108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A person sitting on a chair with her hands up&#10;&#10;Description automatically generated">
            <a:extLst>
              <a:ext uri="{FF2B5EF4-FFF2-40B4-BE49-F238E27FC236}">
                <a16:creationId xmlns:a16="http://schemas.microsoft.com/office/drawing/2014/main" id="{31C571B0-BB65-5079-BCE1-DE12D438947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20" y="1282"/>
            <a:ext cx="12191980" cy="6856718"/>
          </a:xfrm>
          <a:prstGeom prst="rect">
            <a:avLst/>
          </a:prstGeom>
        </p:spPr>
      </p:pic>
      <p:sp>
        <p:nvSpPr>
          <p:cNvPr id="2" name="Slide Number Placeholder 1">
            <a:extLst>
              <a:ext uri="{FF2B5EF4-FFF2-40B4-BE49-F238E27FC236}">
                <a16:creationId xmlns:a16="http://schemas.microsoft.com/office/drawing/2014/main" id="{9915954A-E9BA-2C9B-31DE-98251C2BC096}"/>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lgn="r">
              <a:spcAft>
                <a:spcPts val="600"/>
              </a:spcAft>
            </a:pPr>
            <a:fld id="{6CC2FB7E-E9FD-AA44-8101-F627C1923673}" type="slidenum">
              <a:rPr lang="en-US">
                <a:solidFill>
                  <a:srgbClr val="FFFFFF"/>
                </a:solidFill>
              </a:rPr>
              <a:pPr algn="r">
                <a:spcAft>
                  <a:spcPts val="600"/>
                </a:spcAft>
              </a:pPr>
              <a:t>2</a:t>
            </a:fld>
            <a:endParaRPr lang="en-US">
              <a:solidFill>
                <a:srgbClr val="FFFFFF"/>
              </a:solidFill>
            </a:endParaRPr>
          </a:p>
        </p:txBody>
      </p:sp>
    </p:spTree>
    <p:extLst>
      <p:ext uri="{BB962C8B-B14F-4D97-AF65-F5344CB8AC3E}">
        <p14:creationId xmlns:p14="http://schemas.microsoft.com/office/powerpoint/2010/main" val="2582391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7E5772-94FC-E37A-46F1-A76A9AE1DD31}"/>
              </a:ext>
            </a:extLst>
          </p:cNvPr>
          <p:cNvSpPr>
            <a:spLocks noGrp="1"/>
          </p:cNvSpPr>
          <p:nvPr>
            <p:ph type="body" sz="quarter" idx="12"/>
          </p:nvPr>
        </p:nvSpPr>
        <p:spPr>
          <a:xfrm>
            <a:off x="1581372" y="1921349"/>
            <a:ext cx="5106031" cy="584775"/>
          </a:xfrm>
        </p:spPr>
        <p:txBody>
          <a:bodyPr wrap="square" lIns="91440" tIns="45720" rIns="91440" bIns="45720" anchor="t">
            <a:spAutoFit/>
          </a:bodyPr>
          <a:lstStyle/>
          <a:p>
            <a:r>
              <a:rPr lang="en-US" sz="3200" dirty="0"/>
              <a:t>Keefe Harrison</a:t>
            </a:r>
          </a:p>
        </p:txBody>
      </p:sp>
      <p:sp>
        <p:nvSpPr>
          <p:cNvPr id="4" name="Text Placeholder 3">
            <a:extLst>
              <a:ext uri="{FF2B5EF4-FFF2-40B4-BE49-F238E27FC236}">
                <a16:creationId xmlns:a16="http://schemas.microsoft.com/office/drawing/2014/main" id="{99B790DE-1782-4822-3146-A66315A9D7A0}"/>
              </a:ext>
            </a:extLst>
          </p:cNvPr>
          <p:cNvSpPr>
            <a:spLocks noGrp="1"/>
          </p:cNvSpPr>
          <p:nvPr>
            <p:ph type="body" sz="quarter" idx="13"/>
          </p:nvPr>
        </p:nvSpPr>
        <p:spPr/>
        <p:txBody>
          <a:bodyPr wrap="square" lIns="91440" tIns="45720" rIns="91440" bIns="45720" anchor="t">
            <a:spAutoFit/>
          </a:bodyPr>
          <a:lstStyle/>
          <a:p>
            <a:r>
              <a:rPr lang="en-US" dirty="0"/>
              <a:t>kharrison@recyclingpartnership.org</a:t>
            </a:r>
          </a:p>
        </p:txBody>
      </p:sp>
      <p:sp>
        <p:nvSpPr>
          <p:cNvPr id="5" name="Text Placeholder 4">
            <a:extLst>
              <a:ext uri="{FF2B5EF4-FFF2-40B4-BE49-F238E27FC236}">
                <a16:creationId xmlns:a16="http://schemas.microsoft.com/office/drawing/2014/main" id="{8D57FFC9-1C23-A0A7-FBBD-4E5345136C2A}"/>
              </a:ext>
            </a:extLst>
          </p:cNvPr>
          <p:cNvSpPr>
            <a:spLocks noGrp="1"/>
          </p:cNvSpPr>
          <p:nvPr>
            <p:ph type="body" sz="quarter" idx="14"/>
          </p:nvPr>
        </p:nvSpPr>
        <p:spPr>
          <a:xfrm>
            <a:off x="2142668" y="3345259"/>
            <a:ext cx="7084569" cy="400110"/>
          </a:xfrm>
        </p:spPr>
        <p:txBody>
          <a:bodyPr/>
          <a:lstStyle/>
          <a:p>
            <a:r>
              <a:rPr lang="en-US" dirty="0">
                <a:solidFill>
                  <a:schemeClr val="bg1"/>
                </a:solidFill>
              </a:rPr>
              <a:t>community.recyclingpartnership.org</a:t>
            </a:r>
          </a:p>
        </p:txBody>
      </p:sp>
    </p:spTree>
    <p:extLst>
      <p:ext uri="{BB962C8B-B14F-4D97-AF65-F5344CB8AC3E}">
        <p14:creationId xmlns:p14="http://schemas.microsoft.com/office/powerpoint/2010/main" val="3935168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C6FC02-FA2F-BAC6-CB13-2C7B8AC0DD1B}"/>
              </a:ext>
            </a:extLst>
          </p:cNvPr>
          <p:cNvSpPr>
            <a:spLocks noGrp="1"/>
          </p:cNvSpPr>
          <p:nvPr>
            <p:ph type="sldNum" sz="quarter" idx="10"/>
          </p:nvPr>
        </p:nvSpPr>
        <p:spPr/>
        <p:txBody>
          <a:bodyPr/>
          <a:lstStyle/>
          <a:p>
            <a:fld id="{6CC2FB7E-E9FD-AA44-8101-F627C1923673}" type="slidenum">
              <a:rPr lang="en-US" smtClean="0"/>
              <a:pPr/>
              <a:t>3</a:t>
            </a:fld>
            <a:endParaRPr lang="en-US"/>
          </a:p>
        </p:txBody>
      </p:sp>
      <p:pic>
        <p:nvPicPr>
          <p:cNvPr id="8" name="Picture 7" descr="A person riding a bicycle&#10;&#10;Description automatically generated">
            <a:extLst>
              <a:ext uri="{FF2B5EF4-FFF2-40B4-BE49-F238E27FC236}">
                <a16:creationId xmlns:a16="http://schemas.microsoft.com/office/drawing/2014/main" id="{4EAD8D3C-CD2B-FB0A-02C6-A582C32ACE6F}"/>
              </a:ext>
            </a:extLst>
          </p:cNvPr>
          <p:cNvPicPr>
            <a:picLocks noChangeAspect="1"/>
          </p:cNvPicPr>
          <p:nvPr/>
        </p:nvPicPr>
        <p:blipFill>
          <a:blip r:embed="rId2"/>
          <a:stretch>
            <a:fillRect/>
          </a:stretch>
        </p:blipFill>
        <p:spPr>
          <a:xfrm>
            <a:off x="182769" y="0"/>
            <a:ext cx="11826462" cy="7095877"/>
          </a:xfrm>
          <a:prstGeom prst="rect">
            <a:avLst/>
          </a:prstGeom>
        </p:spPr>
      </p:pic>
    </p:spTree>
    <p:extLst>
      <p:ext uri="{BB962C8B-B14F-4D97-AF65-F5344CB8AC3E}">
        <p14:creationId xmlns:p14="http://schemas.microsoft.com/office/powerpoint/2010/main" val="2924631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096075-8662-3369-67AF-3B65248FD7B7}"/>
              </a:ext>
            </a:extLst>
          </p:cNvPr>
          <p:cNvSpPr>
            <a:spLocks noGrp="1"/>
          </p:cNvSpPr>
          <p:nvPr>
            <p:ph type="sldNum" sz="quarter" idx="10"/>
          </p:nvPr>
        </p:nvSpPr>
        <p:spPr/>
        <p:txBody>
          <a:bodyPr/>
          <a:lstStyle/>
          <a:p>
            <a:fld id="{6CC2FB7E-E9FD-AA44-8101-F627C1923673}" type="slidenum">
              <a:rPr lang="en-US" smtClean="0"/>
              <a:pPr/>
              <a:t>4</a:t>
            </a:fld>
            <a:endParaRPr lang="en-US"/>
          </a:p>
        </p:txBody>
      </p:sp>
      <p:pic>
        <p:nvPicPr>
          <p:cNvPr id="4" name="Picture 3" descr="A group of sailboats in the ocean&#10;&#10;Description automatically generated">
            <a:extLst>
              <a:ext uri="{FF2B5EF4-FFF2-40B4-BE49-F238E27FC236}">
                <a16:creationId xmlns:a16="http://schemas.microsoft.com/office/drawing/2014/main" id="{9C14B405-F52B-AE72-B1BB-3FACAC6060EE}"/>
              </a:ext>
            </a:extLst>
          </p:cNvPr>
          <p:cNvPicPr>
            <a:picLocks noChangeAspect="1"/>
          </p:cNvPicPr>
          <p:nvPr/>
        </p:nvPicPr>
        <p:blipFill>
          <a:blip r:embed="rId2"/>
          <a:stretch>
            <a:fillRect/>
          </a:stretch>
        </p:blipFill>
        <p:spPr>
          <a:xfrm>
            <a:off x="-243084" y="1"/>
            <a:ext cx="12583486" cy="6858000"/>
          </a:xfrm>
          <a:prstGeom prst="rect">
            <a:avLst/>
          </a:prstGeom>
        </p:spPr>
      </p:pic>
    </p:spTree>
    <p:extLst>
      <p:ext uri="{BB962C8B-B14F-4D97-AF65-F5344CB8AC3E}">
        <p14:creationId xmlns:p14="http://schemas.microsoft.com/office/powerpoint/2010/main" val="25032453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444458-D56E-4A57-D3FE-68CAF3929E89}"/>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sp>
        <p:nvSpPr>
          <p:cNvPr id="3" name="Text Placeholder 2">
            <a:extLst>
              <a:ext uri="{FF2B5EF4-FFF2-40B4-BE49-F238E27FC236}">
                <a16:creationId xmlns:a16="http://schemas.microsoft.com/office/drawing/2014/main" id="{E0D676CE-B36B-BAB3-68EF-090D5A5B9879}"/>
              </a:ext>
            </a:extLst>
          </p:cNvPr>
          <p:cNvSpPr>
            <a:spLocks noGrp="1"/>
          </p:cNvSpPr>
          <p:nvPr>
            <p:ph type="body" sz="quarter" idx="11"/>
          </p:nvPr>
        </p:nvSpPr>
        <p:spPr>
          <a:xfrm>
            <a:off x="381917" y="360869"/>
            <a:ext cx="10895013" cy="355600"/>
          </a:xfrm>
        </p:spPr>
        <p:txBody>
          <a:bodyPr/>
          <a:lstStyle/>
          <a:p>
            <a:r>
              <a:rPr lang="en-US" sz="2400">
                <a:solidFill>
                  <a:schemeClr val="bg1"/>
                </a:solidFill>
              </a:rPr>
              <a:t>Vision, Mission, and Core Values</a:t>
            </a:r>
          </a:p>
        </p:txBody>
      </p:sp>
      <p:sp>
        <p:nvSpPr>
          <p:cNvPr id="4" name="Text Placeholder 3">
            <a:extLst>
              <a:ext uri="{FF2B5EF4-FFF2-40B4-BE49-F238E27FC236}">
                <a16:creationId xmlns:a16="http://schemas.microsoft.com/office/drawing/2014/main" id="{6ED97ECC-A282-9E3E-13F8-A18D5EAF41A2}"/>
              </a:ext>
            </a:extLst>
          </p:cNvPr>
          <p:cNvSpPr>
            <a:spLocks noGrp="1"/>
          </p:cNvSpPr>
          <p:nvPr>
            <p:ph type="body" sz="quarter" idx="12"/>
          </p:nvPr>
        </p:nvSpPr>
        <p:spPr>
          <a:xfrm>
            <a:off x="516439" y="1466038"/>
            <a:ext cx="4795091" cy="954107"/>
          </a:xfrm>
        </p:spPr>
        <p:txBody>
          <a:bodyPr/>
          <a:lstStyle/>
          <a:p>
            <a:r>
              <a:rPr lang="en-US" sz="3200" dirty="0">
                <a:solidFill>
                  <a:srgbClr val="003731"/>
                </a:solidFill>
              </a:rPr>
              <a:t>Vision</a:t>
            </a:r>
          </a:p>
          <a:p>
            <a:endParaRPr lang="en-US" sz="2400" dirty="0">
              <a:solidFill>
                <a:srgbClr val="003731"/>
              </a:solidFill>
            </a:endParaRPr>
          </a:p>
        </p:txBody>
      </p:sp>
      <p:sp>
        <p:nvSpPr>
          <p:cNvPr id="17" name="object 4">
            <a:extLst>
              <a:ext uri="{FF2B5EF4-FFF2-40B4-BE49-F238E27FC236}">
                <a16:creationId xmlns:a16="http://schemas.microsoft.com/office/drawing/2014/main" id="{81850EC2-7DD6-4254-7BE8-7867E8BCE230}"/>
              </a:ext>
            </a:extLst>
          </p:cNvPr>
          <p:cNvSpPr txBox="1"/>
          <p:nvPr/>
        </p:nvSpPr>
        <p:spPr>
          <a:xfrm>
            <a:off x="7891670" y="1466038"/>
            <a:ext cx="2979669" cy="585371"/>
          </a:xfrm>
          <a:prstGeom prst="rect">
            <a:avLst/>
          </a:prstGeom>
        </p:spPr>
        <p:txBody>
          <a:bodyPr vert="horz" wrap="square" lIns="0" tIns="92030" rIns="0" bIns="0" rtlCol="0">
            <a:spAutoFit/>
          </a:bodyPr>
          <a:lstStyle/>
          <a:p>
            <a:pPr marL="7701" marR="0" lvl="0" indent="0" algn="l" defTabSz="914400" rtl="0" eaLnBrk="1" fontAlgn="auto" latinLnBrk="0" hangingPunct="1">
              <a:lnSpc>
                <a:spcPct val="100000"/>
              </a:lnSpc>
              <a:spcBef>
                <a:spcPts val="725"/>
              </a:spcBef>
              <a:spcAft>
                <a:spcPts val="0"/>
              </a:spcAft>
              <a:buClrTx/>
              <a:buSzTx/>
              <a:buFontTx/>
              <a:buNone/>
              <a:tabLst/>
              <a:defRPr/>
            </a:pPr>
            <a:r>
              <a:rPr kumimoji="0" lang="en-US" sz="3200" b="1" i="0" u="none" strike="noStrike" kern="1200" cap="none" spc="0" normalizeH="0" baseline="0" noProof="0" dirty="0">
                <a:ln>
                  <a:noFill/>
                </a:ln>
                <a:solidFill>
                  <a:srgbClr val="003731"/>
                </a:solidFill>
                <a:effectLst/>
                <a:uLnTx/>
                <a:uFillTx/>
                <a:latin typeface="Roboto"/>
                <a:ea typeface="+mn-ea"/>
                <a:cs typeface="Roboto"/>
              </a:rPr>
              <a:t>Mission</a:t>
            </a:r>
            <a:endParaRPr kumimoji="0" sz="3200" b="0" i="0" u="none" strike="noStrike" kern="1200" cap="none" spc="0" normalizeH="0" baseline="0" noProof="0" dirty="0">
              <a:ln>
                <a:noFill/>
              </a:ln>
              <a:solidFill>
                <a:srgbClr val="003731"/>
              </a:solidFill>
              <a:effectLst/>
              <a:uLnTx/>
              <a:uFillTx/>
              <a:latin typeface="Roboto"/>
              <a:ea typeface="+mn-ea"/>
              <a:cs typeface="Roboto"/>
            </a:endParaRPr>
          </a:p>
        </p:txBody>
      </p:sp>
      <p:pic>
        <p:nvPicPr>
          <p:cNvPr id="6" name="Picture 5">
            <a:extLst>
              <a:ext uri="{FF2B5EF4-FFF2-40B4-BE49-F238E27FC236}">
                <a16:creationId xmlns:a16="http://schemas.microsoft.com/office/drawing/2014/main" id="{C75C84B6-5127-2649-EC37-E76476917C1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468" t="2439" r="5158" b="6443"/>
          <a:stretch/>
        </p:blipFill>
        <p:spPr>
          <a:xfrm>
            <a:off x="3485323" y="848775"/>
            <a:ext cx="4142839" cy="5648356"/>
          </a:xfrm>
          <a:prstGeom prst="rect">
            <a:avLst/>
          </a:prstGeom>
        </p:spPr>
      </p:pic>
      <p:sp>
        <p:nvSpPr>
          <p:cNvPr id="8" name="TextBox 7">
            <a:extLst>
              <a:ext uri="{FF2B5EF4-FFF2-40B4-BE49-F238E27FC236}">
                <a16:creationId xmlns:a16="http://schemas.microsoft.com/office/drawing/2014/main" id="{D50B35EE-A962-E200-8301-78E641C83C7E}"/>
              </a:ext>
            </a:extLst>
          </p:cNvPr>
          <p:cNvSpPr txBox="1"/>
          <p:nvPr/>
        </p:nvSpPr>
        <p:spPr>
          <a:xfrm>
            <a:off x="7891670" y="2176101"/>
            <a:ext cx="3492412"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A887"/>
                </a:solidFill>
                <a:effectLst/>
                <a:uLnTx/>
                <a:uFillTx/>
                <a:latin typeface="Source Sans Pro"/>
                <a:ea typeface="+mn-ea"/>
                <a:cs typeface="+mn-cs"/>
              </a:rPr>
              <a:t>We empower people and the planet by advanc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A887"/>
                </a:solidFill>
                <a:effectLst/>
                <a:uLnTx/>
                <a:uFillTx/>
                <a:latin typeface="Source Sans Pro"/>
                <a:ea typeface="+mn-ea"/>
                <a:cs typeface="+mn-cs"/>
              </a:rPr>
              <a:t>recycling and the circular economy.</a:t>
            </a:r>
          </a:p>
        </p:txBody>
      </p:sp>
      <p:sp>
        <p:nvSpPr>
          <p:cNvPr id="9" name="TextBox 8">
            <a:extLst>
              <a:ext uri="{FF2B5EF4-FFF2-40B4-BE49-F238E27FC236}">
                <a16:creationId xmlns:a16="http://schemas.microsoft.com/office/drawing/2014/main" id="{A647B12E-457D-0D67-5288-7A0737BBC15A}"/>
              </a:ext>
            </a:extLst>
          </p:cNvPr>
          <p:cNvSpPr txBox="1"/>
          <p:nvPr/>
        </p:nvSpPr>
        <p:spPr>
          <a:xfrm>
            <a:off x="463431" y="2176101"/>
            <a:ext cx="3021892"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ource Sans Pro"/>
                <a:ea typeface="+mn-ea"/>
                <a:cs typeface="+mn-cs"/>
              </a:rPr>
              <a:t>We envision a future where the burden of waste has been transformed into a beneficial resource.</a:t>
            </a:r>
          </a:p>
        </p:txBody>
      </p:sp>
      <p:pic>
        <p:nvPicPr>
          <p:cNvPr id="10" name="Graphic 9">
            <a:extLst>
              <a:ext uri="{FF2B5EF4-FFF2-40B4-BE49-F238E27FC236}">
                <a16:creationId xmlns:a16="http://schemas.microsoft.com/office/drawing/2014/main" id="{58AAA1C6-EA0C-6E05-9EEF-088EF011F6C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18869" y="424369"/>
            <a:ext cx="235989" cy="228600"/>
          </a:xfrm>
          <a:prstGeom prst="rect">
            <a:avLst/>
          </a:prstGeom>
        </p:spPr>
      </p:pic>
    </p:spTree>
    <p:extLst>
      <p:ext uri="{BB962C8B-B14F-4D97-AF65-F5344CB8AC3E}">
        <p14:creationId xmlns:p14="http://schemas.microsoft.com/office/powerpoint/2010/main" val="4071855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79F39B0-F1B1-6518-3F43-5FDADA3531A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04800" y="132522"/>
            <a:ext cx="5426766" cy="5141844"/>
          </a:xfrm>
          <a:prstGeom prst="rect">
            <a:avLst/>
          </a:prstGeom>
        </p:spPr>
      </p:pic>
      <p:pic>
        <p:nvPicPr>
          <p:cNvPr id="12" name="Picture 11">
            <a:extLst>
              <a:ext uri="{FF2B5EF4-FFF2-40B4-BE49-F238E27FC236}">
                <a16:creationId xmlns:a16="http://schemas.microsoft.com/office/drawing/2014/main" id="{C19F4F69-E2A8-1459-0671-8EE1FDC5957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687335" y="218841"/>
            <a:ext cx="6546574" cy="4872718"/>
          </a:xfrm>
          <a:prstGeom prst="rect">
            <a:avLst/>
          </a:prstGeom>
        </p:spPr>
      </p:pic>
      <p:sp>
        <p:nvSpPr>
          <p:cNvPr id="2" name="Slide Number Placeholder 1">
            <a:extLst>
              <a:ext uri="{FF2B5EF4-FFF2-40B4-BE49-F238E27FC236}">
                <a16:creationId xmlns:a16="http://schemas.microsoft.com/office/drawing/2014/main" id="{557E07C1-7215-E519-C088-937C1AB2C612}"/>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pic>
        <p:nvPicPr>
          <p:cNvPr id="10" name="Picture 9" descr="A blue flag with yellow text&#10;&#10;Description automatically generated with medium confidence">
            <a:extLst>
              <a:ext uri="{FF2B5EF4-FFF2-40B4-BE49-F238E27FC236}">
                <a16:creationId xmlns:a16="http://schemas.microsoft.com/office/drawing/2014/main" id="{81BA9993-2C89-7C1F-E761-A5CCA88DE9F9}"/>
              </a:ext>
            </a:extLst>
          </p:cNvPr>
          <p:cNvPicPr>
            <a:picLocks noChangeAspect="1"/>
          </p:cNvPicPr>
          <p:nvPr/>
        </p:nvPicPr>
        <p:blipFill>
          <a:blip r:embed="rId4"/>
          <a:stretch>
            <a:fillRect/>
          </a:stretch>
        </p:blipFill>
        <p:spPr>
          <a:xfrm>
            <a:off x="8895948" y="3584811"/>
            <a:ext cx="3375814" cy="2246451"/>
          </a:xfrm>
          <a:prstGeom prst="rect">
            <a:avLst/>
          </a:prstGeom>
          <a:ln w="76200">
            <a:solidFill>
              <a:schemeClr val="bg2"/>
            </a:solidFill>
          </a:ln>
        </p:spPr>
      </p:pic>
      <p:pic>
        <p:nvPicPr>
          <p:cNvPr id="3" name="Picture 2">
            <a:extLst>
              <a:ext uri="{FF2B5EF4-FFF2-40B4-BE49-F238E27FC236}">
                <a16:creationId xmlns:a16="http://schemas.microsoft.com/office/drawing/2014/main" id="{1E4AF222-E7CA-C9AD-BCF0-D835C6854083}"/>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922083" y="3909981"/>
            <a:ext cx="5340626" cy="3004102"/>
          </a:xfrm>
          <a:prstGeom prst="rect">
            <a:avLst/>
          </a:prstGeom>
          <a:ln w="76200">
            <a:solidFill>
              <a:schemeClr val="bg2"/>
            </a:solidFill>
          </a:ln>
        </p:spPr>
      </p:pic>
      <p:pic>
        <p:nvPicPr>
          <p:cNvPr id="11" name="Picture 10" descr="A person standing in front of a large screen&#10;&#10;Description automatically generated with low confidence">
            <a:extLst>
              <a:ext uri="{FF2B5EF4-FFF2-40B4-BE49-F238E27FC236}">
                <a16:creationId xmlns:a16="http://schemas.microsoft.com/office/drawing/2014/main" id="{F62D4E52-96E3-27A5-A1D1-55465D9CDB7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7448" y="3023493"/>
            <a:ext cx="3470831" cy="2315017"/>
          </a:xfrm>
          <a:prstGeom prst="rect">
            <a:avLst/>
          </a:prstGeom>
          <a:ln w="76200">
            <a:solidFill>
              <a:schemeClr val="bg2"/>
            </a:solidFill>
          </a:ln>
        </p:spPr>
      </p:pic>
      <p:pic>
        <p:nvPicPr>
          <p:cNvPr id="14" name="Picture 13" descr="A close-up of a white background&#10;&#10;Description automatically generated with low confidence">
            <a:extLst>
              <a:ext uri="{FF2B5EF4-FFF2-40B4-BE49-F238E27FC236}">
                <a16:creationId xmlns:a16="http://schemas.microsoft.com/office/drawing/2014/main" id="{6E5B9946-277B-2765-A157-CFB39964349C}"/>
              </a:ext>
            </a:extLst>
          </p:cNvPr>
          <p:cNvPicPr>
            <a:picLocks noChangeAspect="1"/>
          </p:cNvPicPr>
          <p:nvPr/>
        </p:nvPicPr>
        <p:blipFill>
          <a:blip r:embed="rId7"/>
          <a:stretch>
            <a:fillRect/>
          </a:stretch>
        </p:blipFill>
        <p:spPr>
          <a:xfrm>
            <a:off x="3747805" y="734422"/>
            <a:ext cx="5086350" cy="895350"/>
          </a:xfrm>
          <a:prstGeom prst="rect">
            <a:avLst/>
          </a:prstGeom>
          <a:ln w="3175">
            <a:solidFill>
              <a:schemeClr val="tx1"/>
            </a:solidFill>
          </a:ln>
        </p:spPr>
      </p:pic>
      <p:pic>
        <p:nvPicPr>
          <p:cNvPr id="7" name="Picture 2">
            <a:extLst>
              <a:ext uri="{FF2B5EF4-FFF2-40B4-BE49-F238E27FC236}">
                <a16:creationId xmlns:a16="http://schemas.microsoft.com/office/drawing/2014/main" id="{AFAA282A-0AB3-518B-BF6F-D842D4F1F9F0}"/>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492926" y="3355149"/>
            <a:ext cx="4806043" cy="322493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44C445C-2C28-08DE-F17E-38340E35255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234993" y="1423322"/>
            <a:ext cx="5514703" cy="4136027"/>
          </a:xfrm>
          <a:prstGeom prst="rect">
            <a:avLst/>
          </a:prstGeom>
          <a:ln w="57150">
            <a:solidFill>
              <a:schemeClr val="bg1"/>
            </a:solidFill>
          </a:ln>
        </p:spPr>
      </p:pic>
      <p:pic>
        <p:nvPicPr>
          <p:cNvPr id="9" name="Picture 8">
            <a:extLst>
              <a:ext uri="{FF2B5EF4-FFF2-40B4-BE49-F238E27FC236}">
                <a16:creationId xmlns:a16="http://schemas.microsoft.com/office/drawing/2014/main" id="{7F0D987E-0236-A4F6-D2A7-0475E7C0BBD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404407" y="856735"/>
            <a:ext cx="6258804" cy="4326227"/>
          </a:xfrm>
          <a:prstGeom prst="rect">
            <a:avLst/>
          </a:prstGeom>
          <a:ln w="76200">
            <a:solidFill>
              <a:schemeClr val="bg1"/>
            </a:solidFill>
          </a:ln>
        </p:spPr>
      </p:pic>
      <p:pic>
        <p:nvPicPr>
          <p:cNvPr id="5" name="Picture 4" descr="A group of people standing in front of a green bin&#10;&#10;Description automatically generated with medium confidence">
            <a:extLst>
              <a:ext uri="{FF2B5EF4-FFF2-40B4-BE49-F238E27FC236}">
                <a16:creationId xmlns:a16="http://schemas.microsoft.com/office/drawing/2014/main" id="{FB00C12D-4AD7-CC94-2854-533B068947C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72480" y="-87457"/>
            <a:ext cx="12264480" cy="7032913"/>
          </a:xfrm>
          <a:prstGeom prst="rect">
            <a:avLst/>
          </a:prstGeom>
        </p:spPr>
      </p:pic>
    </p:spTree>
    <p:extLst>
      <p:ext uri="{BB962C8B-B14F-4D97-AF65-F5344CB8AC3E}">
        <p14:creationId xmlns:p14="http://schemas.microsoft.com/office/powerpoint/2010/main" val="4174811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C53BACD-CD95-AF1F-F280-DA582B350796}"/>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sp>
        <p:nvSpPr>
          <p:cNvPr id="4" name="Text Placeholder 3">
            <a:extLst>
              <a:ext uri="{FF2B5EF4-FFF2-40B4-BE49-F238E27FC236}">
                <a16:creationId xmlns:a16="http://schemas.microsoft.com/office/drawing/2014/main" id="{A93CC068-FF15-3A25-F7CE-F4E257715CEE}"/>
              </a:ext>
            </a:extLst>
          </p:cNvPr>
          <p:cNvSpPr>
            <a:spLocks noGrp="1"/>
          </p:cNvSpPr>
          <p:nvPr>
            <p:ph type="body" sz="quarter" idx="12"/>
          </p:nvPr>
        </p:nvSpPr>
        <p:spPr>
          <a:xfrm>
            <a:off x="844979" y="1355660"/>
            <a:ext cx="10360152" cy="553998"/>
          </a:xfrm>
        </p:spPr>
        <p:txBody>
          <a:bodyPr/>
          <a:lstStyle/>
          <a:p>
            <a:r>
              <a:rPr lang="en-US" dirty="0"/>
              <a:t>4 Verticals of Growth &amp; Impact</a:t>
            </a:r>
          </a:p>
        </p:txBody>
      </p:sp>
      <p:sp>
        <p:nvSpPr>
          <p:cNvPr id="6" name="Text Placeholder 5">
            <a:extLst>
              <a:ext uri="{FF2B5EF4-FFF2-40B4-BE49-F238E27FC236}">
                <a16:creationId xmlns:a16="http://schemas.microsoft.com/office/drawing/2014/main" id="{8A046E6C-C21F-5863-7254-AF4B7105ED81}"/>
              </a:ext>
            </a:extLst>
          </p:cNvPr>
          <p:cNvSpPr>
            <a:spLocks noGrp="1"/>
          </p:cNvSpPr>
          <p:nvPr>
            <p:ph type="body" sz="quarter" idx="17"/>
          </p:nvPr>
        </p:nvSpPr>
        <p:spPr>
          <a:xfrm>
            <a:off x="1101454" y="3739806"/>
            <a:ext cx="2212492" cy="1959511"/>
          </a:xfrm>
        </p:spPr>
        <p:txBody>
          <a:bodyPr/>
          <a:lstStyle/>
          <a:p>
            <a:r>
              <a:rPr lang="en-US" sz="2800" b="1" dirty="0">
                <a:latin typeface="+mj-lt"/>
              </a:rPr>
              <a:t>Advance &amp; Implement Harmonized Policy</a:t>
            </a:r>
          </a:p>
        </p:txBody>
      </p:sp>
      <p:sp>
        <p:nvSpPr>
          <p:cNvPr id="10" name="Text Placeholder 5">
            <a:extLst>
              <a:ext uri="{FF2B5EF4-FFF2-40B4-BE49-F238E27FC236}">
                <a16:creationId xmlns:a16="http://schemas.microsoft.com/office/drawing/2014/main" id="{400C25DF-E584-69F0-4A67-8DDCDAC6F942}"/>
              </a:ext>
            </a:extLst>
          </p:cNvPr>
          <p:cNvSpPr txBox="1">
            <a:spLocks/>
          </p:cNvSpPr>
          <p:nvPr/>
        </p:nvSpPr>
        <p:spPr>
          <a:xfrm>
            <a:off x="3690831" y="3739806"/>
            <a:ext cx="2212492" cy="1485535"/>
          </a:xfrm>
          <a:prstGeom prst="rect">
            <a:avLst/>
          </a:prstGeom>
        </p:spPr>
        <p:txBody>
          <a:bodyPr wrap="square" anchor="t" anchorCtr="0">
            <a:spAutoFit/>
          </a:bodyPr>
          <a:lstStyle>
            <a:lvl1pPr marL="0" indent="0" algn="ctr" defTabSz="914400" rtl="0" eaLnBrk="1" latinLnBrk="0" hangingPunct="1">
              <a:lnSpc>
                <a:spcPct val="110000"/>
              </a:lnSpc>
              <a:spcBef>
                <a:spcPts val="0"/>
              </a:spcBef>
              <a:buFont typeface="Arial"/>
              <a:buNone/>
              <a:defRPr sz="1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a:buNone/>
              <a:tabLst/>
              <a:defRPr/>
            </a:pPr>
            <a:r>
              <a:rPr kumimoji="0" lang="en-US" sz="2800" b="1" i="0" u="none" strike="noStrike" kern="1200" cap="none" spc="0" normalizeH="0" baseline="0" noProof="0" dirty="0">
                <a:ln>
                  <a:noFill/>
                </a:ln>
                <a:solidFill>
                  <a:srgbClr val="000000"/>
                </a:solidFill>
                <a:effectLst/>
                <a:uLnTx/>
                <a:uFillTx/>
                <a:latin typeface="Roboto"/>
                <a:ea typeface="+mn-ea"/>
                <a:cs typeface="+mn-cs"/>
              </a:rPr>
              <a:t>Regional System Change</a:t>
            </a:r>
          </a:p>
        </p:txBody>
      </p:sp>
      <p:sp>
        <p:nvSpPr>
          <p:cNvPr id="11" name="Text Placeholder 5">
            <a:extLst>
              <a:ext uri="{FF2B5EF4-FFF2-40B4-BE49-F238E27FC236}">
                <a16:creationId xmlns:a16="http://schemas.microsoft.com/office/drawing/2014/main" id="{A3EBF07D-8230-16DA-0AE9-14401843D136}"/>
              </a:ext>
            </a:extLst>
          </p:cNvPr>
          <p:cNvSpPr txBox="1">
            <a:spLocks/>
          </p:cNvSpPr>
          <p:nvPr/>
        </p:nvSpPr>
        <p:spPr>
          <a:xfrm>
            <a:off x="6176036" y="3739805"/>
            <a:ext cx="2278852" cy="1485535"/>
          </a:xfrm>
          <a:prstGeom prst="rect">
            <a:avLst/>
          </a:prstGeom>
        </p:spPr>
        <p:txBody>
          <a:bodyPr wrap="square" anchor="t" anchorCtr="0">
            <a:spAutoFit/>
          </a:bodyPr>
          <a:lstStyle>
            <a:lvl1pPr marL="0" indent="0" algn="ctr" defTabSz="914400" rtl="0" eaLnBrk="1" latinLnBrk="0" hangingPunct="1">
              <a:lnSpc>
                <a:spcPct val="110000"/>
              </a:lnSpc>
              <a:spcBef>
                <a:spcPts val="0"/>
              </a:spcBef>
              <a:buFont typeface="Arial"/>
              <a:buNone/>
              <a:defRPr sz="1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a:buNone/>
              <a:tabLst/>
              <a:defRPr/>
            </a:pPr>
            <a:r>
              <a:rPr kumimoji="0" lang="en-US" sz="2800" b="1" i="0" u="none" strike="noStrike" kern="1200" cap="none" spc="0" normalizeH="0" baseline="0" noProof="0" dirty="0">
                <a:ln>
                  <a:noFill/>
                </a:ln>
                <a:solidFill>
                  <a:srgbClr val="000000"/>
                </a:solidFill>
                <a:effectLst/>
                <a:uLnTx/>
                <a:uFillTx/>
                <a:latin typeface="Roboto"/>
                <a:ea typeface="+mn-ea"/>
                <a:cs typeface="+mn-cs"/>
              </a:rPr>
              <a:t>State &amp; Federal Partnerships</a:t>
            </a:r>
          </a:p>
        </p:txBody>
      </p:sp>
      <p:sp>
        <p:nvSpPr>
          <p:cNvPr id="12" name="Text Placeholder 5">
            <a:extLst>
              <a:ext uri="{FF2B5EF4-FFF2-40B4-BE49-F238E27FC236}">
                <a16:creationId xmlns:a16="http://schemas.microsoft.com/office/drawing/2014/main" id="{AB665751-3551-7C5B-3438-5C46734A355F}"/>
              </a:ext>
            </a:extLst>
          </p:cNvPr>
          <p:cNvSpPr txBox="1">
            <a:spLocks/>
          </p:cNvSpPr>
          <p:nvPr/>
        </p:nvSpPr>
        <p:spPr>
          <a:xfrm>
            <a:off x="8878056" y="3708003"/>
            <a:ext cx="2212492" cy="1485535"/>
          </a:xfrm>
          <a:prstGeom prst="rect">
            <a:avLst/>
          </a:prstGeom>
        </p:spPr>
        <p:txBody>
          <a:bodyPr wrap="square" anchor="t" anchorCtr="0">
            <a:spAutoFit/>
          </a:bodyPr>
          <a:lstStyle>
            <a:lvl1pPr marL="0" indent="0" algn="ctr" defTabSz="914400" rtl="0" eaLnBrk="1" latinLnBrk="0" hangingPunct="1">
              <a:lnSpc>
                <a:spcPct val="110000"/>
              </a:lnSpc>
              <a:spcBef>
                <a:spcPts val="0"/>
              </a:spcBef>
              <a:buFont typeface="Arial"/>
              <a:buNone/>
              <a:defRPr sz="1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 typeface="Arial"/>
              <a:buNone/>
              <a:tabLst/>
              <a:defRPr/>
            </a:pPr>
            <a:r>
              <a:rPr kumimoji="0" lang="en-US" sz="2800" b="1" i="0" u="none" strike="noStrike" kern="1200" cap="none" spc="0" normalizeH="0" baseline="0" noProof="0" dirty="0">
                <a:ln>
                  <a:noFill/>
                </a:ln>
                <a:solidFill>
                  <a:srgbClr val="000000"/>
                </a:solidFill>
                <a:effectLst/>
                <a:uLnTx/>
                <a:uFillTx/>
                <a:latin typeface="Roboto"/>
                <a:ea typeface="+mn-ea"/>
                <a:cs typeface="+mn-cs"/>
              </a:rPr>
              <a:t>Innovation, Data and Services</a:t>
            </a:r>
          </a:p>
        </p:txBody>
      </p:sp>
      <p:sp>
        <p:nvSpPr>
          <p:cNvPr id="3" name="Text Placeholder 2">
            <a:extLst>
              <a:ext uri="{FF2B5EF4-FFF2-40B4-BE49-F238E27FC236}">
                <a16:creationId xmlns:a16="http://schemas.microsoft.com/office/drawing/2014/main" id="{0D516D04-AFB5-9174-694E-3CD4F6330565}"/>
              </a:ext>
            </a:extLst>
          </p:cNvPr>
          <p:cNvSpPr>
            <a:spLocks noGrp="1"/>
          </p:cNvSpPr>
          <p:nvPr>
            <p:ph type="body" sz="quarter" idx="11"/>
          </p:nvPr>
        </p:nvSpPr>
        <p:spPr>
          <a:xfrm>
            <a:off x="354011" y="369887"/>
            <a:ext cx="10895013" cy="355600"/>
          </a:xfrm>
        </p:spPr>
        <p:txBody>
          <a:bodyPr/>
          <a:lstStyle/>
          <a:p>
            <a:r>
              <a:rPr lang="en-US" sz="2000" dirty="0"/>
              <a:t>The Recycling Partnership's Focus</a:t>
            </a:r>
          </a:p>
        </p:txBody>
      </p:sp>
    </p:spTree>
    <p:extLst>
      <p:ext uri="{BB962C8B-B14F-4D97-AF65-F5344CB8AC3E}">
        <p14:creationId xmlns:p14="http://schemas.microsoft.com/office/powerpoint/2010/main" val="1991443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BA7DE9-7B9B-0876-58ED-21BA34FE715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sp>
        <p:nvSpPr>
          <p:cNvPr id="3" name="Text Placeholder 2">
            <a:extLst>
              <a:ext uri="{FF2B5EF4-FFF2-40B4-BE49-F238E27FC236}">
                <a16:creationId xmlns:a16="http://schemas.microsoft.com/office/drawing/2014/main" id="{2B433BA1-8608-DCC4-0F36-61F689D30F63}"/>
              </a:ext>
            </a:extLst>
          </p:cNvPr>
          <p:cNvSpPr>
            <a:spLocks noGrp="1"/>
          </p:cNvSpPr>
          <p:nvPr>
            <p:ph type="body" sz="quarter" idx="11"/>
          </p:nvPr>
        </p:nvSpPr>
        <p:spPr/>
        <p:txBody>
          <a:bodyPr/>
          <a:lstStyle/>
          <a:p>
            <a:r>
              <a:rPr lang="en-US" sz="2000" dirty="0"/>
              <a:t>The U.S. Policy Landscape</a:t>
            </a:r>
          </a:p>
        </p:txBody>
      </p:sp>
      <p:pic>
        <p:nvPicPr>
          <p:cNvPr id="4" name="Graphic 3">
            <a:extLst>
              <a:ext uri="{FF2B5EF4-FFF2-40B4-BE49-F238E27FC236}">
                <a16:creationId xmlns:a16="http://schemas.microsoft.com/office/drawing/2014/main" id="{8FF36E3A-398B-4A98-E37B-8072DBDECAA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14352" y="433387"/>
            <a:ext cx="228600" cy="228600"/>
          </a:xfrm>
          <a:prstGeom prst="rect">
            <a:avLst/>
          </a:prstGeom>
        </p:spPr>
      </p:pic>
      <p:sp>
        <p:nvSpPr>
          <p:cNvPr id="12" name="object 3">
            <a:extLst>
              <a:ext uri="{FF2B5EF4-FFF2-40B4-BE49-F238E27FC236}">
                <a16:creationId xmlns:a16="http://schemas.microsoft.com/office/drawing/2014/main" id="{51C3ED22-4CD5-0036-D824-A61B02EA7C66}"/>
              </a:ext>
            </a:extLst>
          </p:cNvPr>
          <p:cNvSpPr txBox="1">
            <a:spLocks/>
          </p:cNvSpPr>
          <p:nvPr/>
        </p:nvSpPr>
        <p:spPr>
          <a:xfrm>
            <a:off x="866025" y="1338957"/>
            <a:ext cx="4596090" cy="960986"/>
          </a:xfrm>
          <a:prstGeom prst="rect">
            <a:avLst/>
          </a:prstGeom>
        </p:spPr>
        <p:txBody>
          <a:bodyPr vert="horz" wrap="square" lIns="0" tIns="7701" rIns="0" bIns="0" rtlCol="0">
            <a:spAutoFit/>
          </a:bodyPr>
          <a:lstStyle>
            <a:lvl1pPr algn="l" defTabSz="914400" rtl="0" eaLnBrk="1" latinLnBrk="0" hangingPunct="1">
              <a:lnSpc>
                <a:spcPct val="90000"/>
              </a:lnSpc>
              <a:spcBef>
                <a:spcPct val="0"/>
              </a:spcBef>
              <a:buNone/>
              <a:defRPr sz="4400" b="0" kern="1200">
                <a:solidFill>
                  <a:schemeClr val="tx2"/>
                </a:solidFill>
                <a:latin typeface="+mj-lt"/>
                <a:ea typeface="+mj-ea"/>
                <a:cs typeface="+mj-cs"/>
              </a:defRPr>
            </a:lvl1pPr>
          </a:lstStyle>
          <a:p>
            <a:pPr marL="7701" marR="3081" lvl="0" indent="0" algn="l" defTabSz="914400" rtl="0" eaLnBrk="1" fontAlgn="auto" latinLnBrk="0" hangingPunct="1">
              <a:lnSpc>
                <a:spcPct val="105500"/>
              </a:lnSpc>
              <a:spcBef>
                <a:spcPts val="61"/>
              </a:spcBef>
              <a:spcAft>
                <a:spcPts val="0"/>
              </a:spcAft>
              <a:buClrTx/>
              <a:buSzTx/>
              <a:buFontTx/>
              <a:buNone/>
              <a:tabLst/>
              <a:defRPr/>
            </a:pPr>
            <a:r>
              <a:rPr kumimoji="0" lang="en-US" sz="3002" b="1" i="0" u="none" strike="noStrike" kern="1200" cap="none" spc="0" normalizeH="0" baseline="0" noProof="0" dirty="0">
                <a:ln>
                  <a:noFill/>
                </a:ln>
                <a:solidFill>
                  <a:srgbClr val="244C5A"/>
                </a:solidFill>
                <a:effectLst/>
                <a:uLnTx/>
                <a:uFillTx/>
                <a:latin typeface="Roboto"/>
                <a:ea typeface="+mj-ea"/>
                <a:cs typeface="+mj-cs"/>
              </a:rPr>
              <a:t>Extended</a:t>
            </a:r>
            <a:r>
              <a:rPr kumimoji="0" lang="en-US" sz="3002" b="1" i="0" u="none" strike="noStrike" kern="1200" cap="none" spc="-136" normalizeH="0" baseline="0" noProof="0" dirty="0">
                <a:ln>
                  <a:noFill/>
                </a:ln>
                <a:solidFill>
                  <a:srgbClr val="244C5A"/>
                </a:solidFill>
                <a:effectLst/>
                <a:uLnTx/>
                <a:uFillTx/>
                <a:latin typeface="Roboto"/>
                <a:ea typeface="+mj-ea"/>
                <a:cs typeface="+mj-cs"/>
              </a:rPr>
              <a:t> </a:t>
            </a:r>
            <a:r>
              <a:rPr kumimoji="0" lang="en-US" sz="3002" b="1" i="0" u="none" strike="noStrike" kern="1200" cap="none" spc="-6" normalizeH="0" baseline="0" noProof="0" dirty="0">
                <a:ln>
                  <a:noFill/>
                </a:ln>
                <a:solidFill>
                  <a:srgbClr val="244C5A"/>
                </a:solidFill>
                <a:effectLst/>
                <a:uLnTx/>
                <a:uFillTx/>
                <a:latin typeface="Roboto"/>
                <a:ea typeface="+mj-ea"/>
                <a:cs typeface="+mj-cs"/>
              </a:rPr>
              <a:t>Producer Responsibility</a:t>
            </a:r>
            <a:r>
              <a:rPr kumimoji="0" lang="en-US" sz="3002" b="1" i="0" u="none" strike="noStrike" kern="1200" cap="none" spc="-146" normalizeH="0" baseline="0" noProof="0" dirty="0">
                <a:ln>
                  <a:noFill/>
                </a:ln>
                <a:solidFill>
                  <a:srgbClr val="244C5A"/>
                </a:solidFill>
                <a:effectLst/>
                <a:uLnTx/>
                <a:uFillTx/>
                <a:latin typeface="Roboto"/>
                <a:ea typeface="+mj-ea"/>
                <a:cs typeface="+mj-cs"/>
              </a:rPr>
              <a:t> </a:t>
            </a:r>
            <a:r>
              <a:rPr kumimoji="0" lang="en-US" sz="3002" b="1" i="0" u="none" strike="noStrike" kern="1200" cap="none" spc="-6" normalizeH="0" baseline="0" noProof="0" dirty="0">
                <a:ln>
                  <a:noFill/>
                </a:ln>
                <a:solidFill>
                  <a:srgbClr val="244C5A"/>
                </a:solidFill>
                <a:effectLst/>
                <a:uLnTx/>
                <a:uFillTx/>
                <a:latin typeface="Roboto"/>
                <a:ea typeface="+mj-ea"/>
                <a:cs typeface="+mj-cs"/>
              </a:rPr>
              <a:t>Legislation</a:t>
            </a:r>
            <a:endParaRPr kumimoji="0" lang="en-US" sz="3002" b="1" i="0" u="none" strike="noStrike" kern="1200" cap="none" spc="0" normalizeH="0" baseline="0" noProof="0" dirty="0">
              <a:ln>
                <a:noFill/>
              </a:ln>
              <a:solidFill>
                <a:srgbClr val="244C5A"/>
              </a:solidFill>
              <a:effectLst/>
              <a:uLnTx/>
              <a:uFillTx/>
              <a:latin typeface="Roboto"/>
              <a:ea typeface="+mj-ea"/>
              <a:cs typeface="+mj-cs"/>
            </a:endParaRPr>
          </a:p>
        </p:txBody>
      </p:sp>
      <p:grpSp>
        <p:nvGrpSpPr>
          <p:cNvPr id="67" name="Group 66">
            <a:extLst>
              <a:ext uri="{FF2B5EF4-FFF2-40B4-BE49-F238E27FC236}">
                <a16:creationId xmlns:a16="http://schemas.microsoft.com/office/drawing/2014/main" id="{B1A51225-2D22-C37B-3B5F-DFCE71A3CC8D}"/>
              </a:ext>
            </a:extLst>
          </p:cNvPr>
          <p:cNvGrpSpPr/>
          <p:nvPr/>
        </p:nvGrpSpPr>
        <p:grpSpPr>
          <a:xfrm>
            <a:off x="5745893" y="1832739"/>
            <a:ext cx="5915891" cy="4095095"/>
            <a:chOff x="653910" y="1355119"/>
            <a:chExt cx="7709294" cy="4930581"/>
          </a:xfrm>
        </p:grpSpPr>
        <p:sp>
          <p:nvSpPr>
            <p:cNvPr id="68" name="Freeform 8">
              <a:extLst>
                <a:ext uri="{FF2B5EF4-FFF2-40B4-BE49-F238E27FC236}">
                  <a16:creationId xmlns:a16="http://schemas.microsoft.com/office/drawing/2014/main" id="{C407BD2F-CC5A-A505-AA38-86C5CD203FB7}"/>
                </a:ext>
              </a:extLst>
            </p:cNvPr>
            <p:cNvSpPr>
              <a:spLocks/>
            </p:cNvSpPr>
            <p:nvPr/>
          </p:nvSpPr>
          <p:spPr bwMode="auto">
            <a:xfrm>
              <a:off x="5802224" y="4297456"/>
              <a:ext cx="544131" cy="909986"/>
            </a:xfrm>
            <a:custGeom>
              <a:avLst/>
              <a:gdLst>
                <a:gd name="T0" fmla="*/ 131 w 197"/>
                <a:gd name="T1" fmla="*/ 0 h 328"/>
                <a:gd name="T2" fmla="*/ 21 w 197"/>
                <a:gd name="T3" fmla="*/ 12 h 328"/>
                <a:gd name="T4" fmla="*/ 2 w 197"/>
                <a:gd name="T5" fmla="*/ 14 h 328"/>
                <a:gd name="T6" fmla="*/ 0 w 197"/>
                <a:gd name="T7" fmla="*/ 126 h 328"/>
                <a:gd name="T8" fmla="*/ 1 w 197"/>
                <a:gd name="T9" fmla="*/ 141 h 328"/>
                <a:gd name="T10" fmla="*/ 1 w 197"/>
                <a:gd name="T11" fmla="*/ 161 h 328"/>
                <a:gd name="T12" fmla="*/ 0 w 197"/>
                <a:gd name="T13" fmla="*/ 224 h 328"/>
                <a:gd name="T14" fmla="*/ 4 w 197"/>
                <a:gd name="T15" fmla="*/ 260 h 328"/>
                <a:gd name="T16" fmla="*/ 13 w 197"/>
                <a:gd name="T17" fmla="*/ 313 h 328"/>
                <a:gd name="T18" fmla="*/ 14 w 197"/>
                <a:gd name="T19" fmla="*/ 328 h 328"/>
                <a:gd name="T20" fmla="*/ 16 w 197"/>
                <a:gd name="T21" fmla="*/ 328 h 328"/>
                <a:gd name="T22" fmla="*/ 17 w 197"/>
                <a:gd name="T23" fmla="*/ 328 h 328"/>
                <a:gd name="T24" fmla="*/ 17 w 197"/>
                <a:gd name="T25" fmla="*/ 327 h 328"/>
                <a:gd name="T26" fmla="*/ 17 w 197"/>
                <a:gd name="T27" fmla="*/ 327 h 328"/>
                <a:gd name="T28" fmla="*/ 17 w 197"/>
                <a:gd name="T29" fmla="*/ 327 h 328"/>
                <a:gd name="T30" fmla="*/ 17 w 197"/>
                <a:gd name="T31" fmla="*/ 327 h 328"/>
                <a:gd name="T32" fmla="*/ 17 w 197"/>
                <a:gd name="T33" fmla="*/ 327 h 328"/>
                <a:gd name="T34" fmla="*/ 18 w 197"/>
                <a:gd name="T35" fmla="*/ 327 h 328"/>
                <a:gd name="T36" fmla="*/ 18 w 197"/>
                <a:gd name="T37" fmla="*/ 327 h 328"/>
                <a:gd name="T38" fmla="*/ 18 w 197"/>
                <a:gd name="T39" fmla="*/ 327 h 328"/>
                <a:gd name="T40" fmla="*/ 18 w 197"/>
                <a:gd name="T41" fmla="*/ 327 h 328"/>
                <a:gd name="T42" fmla="*/ 18 w 197"/>
                <a:gd name="T43" fmla="*/ 327 h 328"/>
                <a:gd name="T44" fmla="*/ 18 w 197"/>
                <a:gd name="T45" fmla="*/ 327 h 328"/>
                <a:gd name="T46" fmla="*/ 18 w 197"/>
                <a:gd name="T47" fmla="*/ 327 h 328"/>
                <a:gd name="T48" fmla="*/ 18 w 197"/>
                <a:gd name="T49" fmla="*/ 327 h 328"/>
                <a:gd name="T50" fmla="*/ 18 w 197"/>
                <a:gd name="T51" fmla="*/ 327 h 328"/>
                <a:gd name="T52" fmla="*/ 19 w 197"/>
                <a:gd name="T53" fmla="*/ 327 h 328"/>
                <a:gd name="T54" fmla="*/ 19 w 197"/>
                <a:gd name="T55" fmla="*/ 327 h 328"/>
                <a:gd name="T56" fmla="*/ 22 w 197"/>
                <a:gd name="T57" fmla="*/ 322 h 328"/>
                <a:gd name="T58" fmla="*/ 22 w 197"/>
                <a:gd name="T59" fmla="*/ 322 h 328"/>
                <a:gd name="T60" fmla="*/ 22 w 197"/>
                <a:gd name="T61" fmla="*/ 322 h 328"/>
                <a:gd name="T62" fmla="*/ 22 w 197"/>
                <a:gd name="T63" fmla="*/ 322 h 328"/>
                <a:gd name="T64" fmla="*/ 28 w 197"/>
                <a:gd name="T65" fmla="*/ 305 h 328"/>
                <a:gd name="T66" fmla="*/ 29 w 197"/>
                <a:gd name="T67" fmla="*/ 305 h 328"/>
                <a:gd name="T68" fmla="*/ 29 w 197"/>
                <a:gd name="T69" fmla="*/ 305 h 328"/>
                <a:gd name="T70" fmla="*/ 42 w 197"/>
                <a:gd name="T71" fmla="*/ 323 h 328"/>
                <a:gd name="T72" fmla="*/ 46 w 197"/>
                <a:gd name="T73" fmla="*/ 325 h 328"/>
                <a:gd name="T74" fmla="*/ 62 w 197"/>
                <a:gd name="T75" fmla="*/ 317 h 328"/>
                <a:gd name="T76" fmla="*/ 66 w 197"/>
                <a:gd name="T77" fmla="*/ 315 h 328"/>
                <a:gd name="T78" fmla="*/ 63 w 197"/>
                <a:gd name="T79" fmla="*/ 299 h 328"/>
                <a:gd name="T80" fmla="*/ 48 w 197"/>
                <a:gd name="T81" fmla="*/ 281 h 328"/>
                <a:gd name="T82" fmla="*/ 48 w 197"/>
                <a:gd name="T83" fmla="*/ 281 h 328"/>
                <a:gd name="T84" fmla="*/ 59 w 197"/>
                <a:gd name="T85" fmla="*/ 271 h 328"/>
                <a:gd name="T86" fmla="*/ 135 w 197"/>
                <a:gd name="T87" fmla="*/ 265 h 328"/>
                <a:gd name="T88" fmla="*/ 197 w 197"/>
                <a:gd name="T89" fmla="*/ 260 h 328"/>
                <a:gd name="T90" fmla="*/ 191 w 197"/>
                <a:gd name="T91" fmla="*/ 246 h 328"/>
                <a:gd name="T92" fmla="*/ 190 w 197"/>
                <a:gd name="T93" fmla="*/ 245 h 328"/>
                <a:gd name="T94" fmla="*/ 188 w 197"/>
                <a:gd name="T95" fmla="*/ 220 h 328"/>
                <a:gd name="T96" fmla="*/ 183 w 197"/>
                <a:gd name="T97" fmla="*/ 201 h 328"/>
                <a:gd name="T98" fmla="*/ 183 w 197"/>
                <a:gd name="T99" fmla="*/ 200 h 328"/>
                <a:gd name="T100" fmla="*/ 183 w 197"/>
                <a:gd name="T101" fmla="*/ 199 h 328"/>
                <a:gd name="T102" fmla="*/ 189 w 197"/>
                <a:gd name="T103" fmla="*/ 177 h 328"/>
                <a:gd name="T104" fmla="*/ 191 w 197"/>
                <a:gd name="T105" fmla="*/ 169 h 328"/>
                <a:gd name="T106" fmla="*/ 176 w 197"/>
                <a:gd name="T107" fmla="*/ 144 h 328"/>
                <a:gd name="T108" fmla="*/ 176 w 197"/>
                <a:gd name="T109" fmla="*/ 144 h 328"/>
                <a:gd name="T110" fmla="*/ 131 w 197"/>
                <a:gd name="T11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328">
                  <a:moveTo>
                    <a:pt x="131" y="0"/>
                  </a:moveTo>
                  <a:cubicBezTo>
                    <a:pt x="21" y="12"/>
                    <a:pt x="21" y="12"/>
                    <a:pt x="21" y="12"/>
                  </a:cubicBezTo>
                  <a:cubicBezTo>
                    <a:pt x="2" y="14"/>
                    <a:pt x="2" y="14"/>
                    <a:pt x="2" y="14"/>
                  </a:cubicBezTo>
                  <a:cubicBezTo>
                    <a:pt x="2" y="22"/>
                    <a:pt x="0" y="93"/>
                    <a:pt x="0" y="126"/>
                  </a:cubicBezTo>
                  <a:cubicBezTo>
                    <a:pt x="0" y="133"/>
                    <a:pt x="0" y="138"/>
                    <a:pt x="1" y="141"/>
                  </a:cubicBezTo>
                  <a:cubicBezTo>
                    <a:pt x="1" y="146"/>
                    <a:pt x="1" y="153"/>
                    <a:pt x="1" y="161"/>
                  </a:cubicBezTo>
                  <a:cubicBezTo>
                    <a:pt x="1" y="186"/>
                    <a:pt x="0" y="221"/>
                    <a:pt x="0" y="224"/>
                  </a:cubicBezTo>
                  <a:cubicBezTo>
                    <a:pt x="4" y="260"/>
                    <a:pt x="4" y="260"/>
                    <a:pt x="4" y="260"/>
                  </a:cubicBezTo>
                  <a:cubicBezTo>
                    <a:pt x="13" y="313"/>
                    <a:pt x="13" y="313"/>
                    <a:pt x="13" y="313"/>
                  </a:cubicBezTo>
                  <a:cubicBezTo>
                    <a:pt x="13" y="313"/>
                    <a:pt x="14" y="320"/>
                    <a:pt x="14" y="328"/>
                  </a:cubicBezTo>
                  <a:cubicBezTo>
                    <a:pt x="15" y="328"/>
                    <a:pt x="16" y="328"/>
                    <a:pt x="16" y="328"/>
                  </a:cubicBezTo>
                  <a:cubicBezTo>
                    <a:pt x="17" y="328"/>
                    <a:pt x="17" y="328"/>
                    <a:pt x="17" y="328"/>
                  </a:cubicBezTo>
                  <a:cubicBezTo>
                    <a:pt x="17" y="327"/>
                    <a:pt x="17" y="327"/>
                    <a:pt x="17" y="327"/>
                  </a:cubicBezTo>
                  <a:cubicBezTo>
                    <a:pt x="17" y="327"/>
                    <a:pt x="17" y="327"/>
                    <a:pt x="17" y="327"/>
                  </a:cubicBezTo>
                  <a:cubicBezTo>
                    <a:pt x="17" y="327"/>
                    <a:pt x="17" y="327"/>
                    <a:pt x="17" y="327"/>
                  </a:cubicBezTo>
                  <a:cubicBezTo>
                    <a:pt x="17" y="327"/>
                    <a:pt x="17" y="327"/>
                    <a:pt x="17" y="327"/>
                  </a:cubicBezTo>
                  <a:cubicBezTo>
                    <a:pt x="17" y="327"/>
                    <a:pt x="17" y="327"/>
                    <a:pt x="17"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8" y="327"/>
                    <a:pt x="18" y="327"/>
                    <a:pt x="18" y="327"/>
                  </a:cubicBezTo>
                  <a:cubicBezTo>
                    <a:pt x="19" y="327"/>
                    <a:pt x="19" y="327"/>
                    <a:pt x="19" y="327"/>
                  </a:cubicBezTo>
                  <a:cubicBezTo>
                    <a:pt x="19" y="327"/>
                    <a:pt x="19" y="327"/>
                    <a:pt x="19" y="327"/>
                  </a:cubicBezTo>
                  <a:cubicBezTo>
                    <a:pt x="20" y="326"/>
                    <a:pt x="21" y="325"/>
                    <a:pt x="22" y="322"/>
                  </a:cubicBezTo>
                  <a:cubicBezTo>
                    <a:pt x="22" y="322"/>
                    <a:pt x="22" y="322"/>
                    <a:pt x="22" y="322"/>
                  </a:cubicBezTo>
                  <a:cubicBezTo>
                    <a:pt x="22" y="322"/>
                    <a:pt x="22" y="322"/>
                    <a:pt x="22" y="322"/>
                  </a:cubicBezTo>
                  <a:cubicBezTo>
                    <a:pt x="22" y="322"/>
                    <a:pt x="22" y="322"/>
                    <a:pt x="22" y="322"/>
                  </a:cubicBezTo>
                  <a:cubicBezTo>
                    <a:pt x="26" y="316"/>
                    <a:pt x="25" y="305"/>
                    <a:pt x="28" y="305"/>
                  </a:cubicBezTo>
                  <a:cubicBezTo>
                    <a:pt x="29" y="305"/>
                    <a:pt x="29" y="305"/>
                    <a:pt x="29" y="305"/>
                  </a:cubicBezTo>
                  <a:cubicBezTo>
                    <a:pt x="29" y="305"/>
                    <a:pt x="29" y="305"/>
                    <a:pt x="29" y="305"/>
                  </a:cubicBezTo>
                  <a:cubicBezTo>
                    <a:pt x="33" y="308"/>
                    <a:pt x="40" y="319"/>
                    <a:pt x="42" y="323"/>
                  </a:cubicBezTo>
                  <a:cubicBezTo>
                    <a:pt x="42" y="324"/>
                    <a:pt x="44" y="325"/>
                    <a:pt x="46" y="325"/>
                  </a:cubicBezTo>
                  <a:cubicBezTo>
                    <a:pt x="51" y="325"/>
                    <a:pt x="58" y="322"/>
                    <a:pt x="62" y="317"/>
                  </a:cubicBezTo>
                  <a:cubicBezTo>
                    <a:pt x="64" y="316"/>
                    <a:pt x="65" y="315"/>
                    <a:pt x="66" y="315"/>
                  </a:cubicBezTo>
                  <a:cubicBezTo>
                    <a:pt x="63" y="299"/>
                    <a:pt x="63" y="299"/>
                    <a:pt x="63" y="299"/>
                  </a:cubicBezTo>
                  <a:cubicBezTo>
                    <a:pt x="54" y="293"/>
                    <a:pt x="48" y="291"/>
                    <a:pt x="48" y="281"/>
                  </a:cubicBezTo>
                  <a:cubicBezTo>
                    <a:pt x="48" y="281"/>
                    <a:pt x="48" y="281"/>
                    <a:pt x="48" y="281"/>
                  </a:cubicBezTo>
                  <a:cubicBezTo>
                    <a:pt x="48" y="276"/>
                    <a:pt x="51" y="271"/>
                    <a:pt x="59" y="271"/>
                  </a:cubicBezTo>
                  <a:cubicBezTo>
                    <a:pt x="71" y="270"/>
                    <a:pt x="135" y="265"/>
                    <a:pt x="135" y="265"/>
                  </a:cubicBezTo>
                  <a:cubicBezTo>
                    <a:pt x="197" y="260"/>
                    <a:pt x="197" y="260"/>
                    <a:pt x="197" y="260"/>
                  </a:cubicBezTo>
                  <a:cubicBezTo>
                    <a:pt x="191" y="246"/>
                    <a:pt x="191" y="246"/>
                    <a:pt x="191" y="246"/>
                  </a:cubicBezTo>
                  <a:cubicBezTo>
                    <a:pt x="190" y="245"/>
                    <a:pt x="190" y="245"/>
                    <a:pt x="190" y="245"/>
                  </a:cubicBezTo>
                  <a:cubicBezTo>
                    <a:pt x="188" y="220"/>
                    <a:pt x="188" y="220"/>
                    <a:pt x="188" y="220"/>
                  </a:cubicBezTo>
                  <a:cubicBezTo>
                    <a:pt x="187" y="217"/>
                    <a:pt x="183" y="204"/>
                    <a:pt x="183" y="201"/>
                  </a:cubicBezTo>
                  <a:cubicBezTo>
                    <a:pt x="183" y="200"/>
                    <a:pt x="183" y="200"/>
                    <a:pt x="183" y="200"/>
                  </a:cubicBezTo>
                  <a:cubicBezTo>
                    <a:pt x="183" y="199"/>
                    <a:pt x="183" y="199"/>
                    <a:pt x="183" y="199"/>
                  </a:cubicBezTo>
                  <a:cubicBezTo>
                    <a:pt x="184" y="192"/>
                    <a:pt x="187" y="184"/>
                    <a:pt x="189" y="177"/>
                  </a:cubicBezTo>
                  <a:cubicBezTo>
                    <a:pt x="191" y="169"/>
                    <a:pt x="191" y="169"/>
                    <a:pt x="191" y="169"/>
                  </a:cubicBezTo>
                  <a:cubicBezTo>
                    <a:pt x="176" y="144"/>
                    <a:pt x="176" y="144"/>
                    <a:pt x="176" y="144"/>
                  </a:cubicBezTo>
                  <a:cubicBezTo>
                    <a:pt x="176" y="144"/>
                    <a:pt x="176" y="144"/>
                    <a:pt x="176" y="144"/>
                  </a:cubicBezTo>
                  <a:lnTo>
                    <a:pt x="131" y="0"/>
                  </a:lnTo>
                  <a:close/>
                </a:path>
              </a:pathLst>
            </a:custGeom>
            <a:solidFill>
              <a:srgbClr val="BBBBB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69" name="Freeform 9">
              <a:extLst>
                <a:ext uri="{FF2B5EF4-FFF2-40B4-BE49-F238E27FC236}">
                  <a16:creationId xmlns:a16="http://schemas.microsoft.com/office/drawing/2014/main" id="{137ADF6F-FD37-7552-0A95-7833DB3C018B}"/>
                </a:ext>
              </a:extLst>
            </p:cNvPr>
            <p:cNvSpPr>
              <a:spLocks/>
            </p:cNvSpPr>
            <p:nvPr/>
          </p:nvSpPr>
          <p:spPr bwMode="auto">
            <a:xfrm>
              <a:off x="6532382" y="4167237"/>
              <a:ext cx="737909" cy="548781"/>
            </a:xfrm>
            <a:custGeom>
              <a:avLst/>
              <a:gdLst>
                <a:gd name="T0" fmla="*/ 85 w 267"/>
                <a:gd name="T1" fmla="*/ 0 h 198"/>
                <a:gd name="T2" fmla="*/ 67 w 267"/>
                <a:gd name="T3" fmla="*/ 1 h 198"/>
                <a:gd name="T4" fmla="*/ 46 w 267"/>
                <a:gd name="T5" fmla="*/ 7 h 198"/>
                <a:gd name="T6" fmla="*/ 7 w 267"/>
                <a:gd name="T7" fmla="*/ 29 h 198"/>
                <a:gd name="T8" fmla="*/ 0 w 267"/>
                <a:gd name="T9" fmla="*/ 45 h 198"/>
                <a:gd name="T10" fmla="*/ 9 w 267"/>
                <a:gd name="T11" fmla="*/ 56 h 198"/>
                <a:gd name="T12" fmla="*/ 31 w 267"/>
                <a:gd name="T13" fmla="*/ 60 h 198"/>
                <a:gd name="T14" fmla="*/ 54 w 267"/>
                <a:gd name="T15" fmla="*/ 90 h 198"/>
                <a:gd name="T16" fmla="*/ 86 w 267"/>
                <a:gd name="T17" fmla="*/ 116 h 198"/>
                <a:gd name="T18" fmla="*/ 87 w 267"/>
                <a:gd name="T19" fmla="*/ 117 h 198"/>
                <a:gd name="T20" fmla="*/ 97 w 267"/>
                <a:gd name="T21" fmla="*/ 136 h 198"/>
                <a:gd name="T22" fmla="*/ 116 w 267"/>
                <a:gd name="T23" fmla="*/ 142 h 198"/>
                <a:gd name="T24" fmla="*/ 118 w 267"/>
                <a:gd name="T25" fmla="*/ 144 h 198"/>
                <a:gd name="T26" fmla="*/ 128 w 267"/>
                <a:gd name="T27" fmla="*/ 167 h 198"/>
                <a:gd name="T28" fmla="*/ 145 w 267"/>
                <a:gd name="T29" fmla="*/ 193 h 198"/>
                <a:gd name="T30" fmla="*/ 160 w 267"/>
                <a:gd name="T31" fmla="*/ 198 h 198"/>
                <a:gd name="T32" fmla="*/ 161 w 267"/>
                <a:gd name="T33" fmla="*/ 191 h 198"/>
                <a:gd name="T34" fmla="*/ 161 w 267"/>
                <a:gd name="T35" fmla="*/ 191 h 198"/>
                <a:gd name="T36" fmla="*/ 161 w 267"/>
                <a:gd name="T37" fmla="*/ 190 h 198"/>
                <a:gd name="T38" fmla="*/ 161 w 267"/>
                <a:gd name="T39" fmla="*/ 190 h 198"/>
                <a:gd name="T40" fmla="*/ 161 w 267"/>
                <a:gd name="T41" fmla="*/ 190 h 198"/>
                <a:gd name="T42" fmla="*/ 161 w 267"/>
                <a:gd name="T43" fmla="*/ 190 h 198"/>
                <a:gd name="T44" fmla="*/ 161 w 267"/>
                <a:gd name="T45" fmla="*/ 189 h 198"/>
                <a:gd name="T46" fmla="*/ 161 w 267"/>
                <a:gd name="T47" fmla="*/ 189 h 198"/>
                <a:gd name="T48" fmla="*/ 174 w 267"/>
                <a:gd name="T49" fmla="*/ 176 h 198"/>
                <a:gd name="T50" fmla="*/ 194 w 267"/>
                <a:gd name="T51" fmla="*/ 165 h 198"/>
                <a:gd name="T52" fmla="*/ 221 w 267"/>
                <a:gd name="T53" fmla="*/ 139 h 198"/>
                <a:gd name="T54" fmla="*/ 235 w 267"/>
                <a:gd name="T55" fmla="*/ 116 h 198"/>
                <a:gd name="T56" fmla="*/ 246 w 267"/>
                <a:gd name="T57" fmla="*/ 84 h 198"/>
                <a:gd name="T58" fmla="*/ 247 w 267"/>
                <a:gd name="T59" fmla="*/ 84 h 198"/>
                <a:gd name="T60" fmla="*/ 247 w 267"/>
                <a:gd name="T61" fmla="*/ 84 h 198"/>
                <a:gd name="T62" fmla="*/ 247 w 267"/>
                <a:gd name="T63" fmla="*/ 83 h 198"/>
                <a:gd name="T64" fmla="*/ 247 w 267"/>
                <a:gd name="T65" fmla="*/ 83 h 198"/>
                <a:gd name="T66" fmla="*/ 248 w 267"/>
                <a:gd name="T67" fmla="*/ 82 h 198"/>
                <a:gd name="T68" fmla="*/ 248 w 267"/>
                <a:gd name="T69" fmla="*/ 82 h 198"/>
                <a:gd name="T70" fmla="*/ 248 w 267"/>
                <a:gd name="T71" fmla="*/ 81 h 198"/>
                <a:gd name="T72" fmla="*/ 248 w 267"/>
                <a:gd name="T73" fmla="*/ 81 h 198"/>
                <a:gd name="T74" fmla="*/ 250 w 267"/>
                <a:gd name="T75" fmla="*/ 80 h 198"/>
                <a:gd name="T76" fmla="*/ 250 w 267"/>
                <a:gd name="T77" fmla="*/ 80 h 198"/>
                <a:gd name="T78" fmla="*/ 267 w 267"/>
                <a:gd name="T79" fmla="*/ 65 h 198"/>
                <a:gd name="T80" fmla="*/ 194 w 267"/>
                <a:gd name="T81" fmla="*/ 12 h 198"/>
                <a:gd name="T82" fmla="*/ 136 w 267"/>
                <a:gd name="T83" fmla="*/ 20 h 198"/>
                <a:gd name="T84" fmla="*/ 136 w 267"/>
                <a:gd name="T85" fmla="*/ 20 h 198"/>
                <a:gd name="T86" fmla="*/ 135 w 267"/>
                <a:gd name="T87" fmla="*/ 20 h 198"/>
                <a:gd name="T88" fmla="*/ 133 w 267"/>
                <a:gd name="T89" fmla="*/ 20 h 198"/>
                <a:gd name="T90" fmla="*/ 112 w 267"/>
                <a:gd name="T91" fmla="*/ 2 h 198"/>
                <a:gd name="T92" fmla="*/ 103 w 267"/>
                <a:gd name="T93" fmla="*/ 1 h 198"/>
                <a:gd name="T94" fmla="*/ 85 w 267"/>
                <a:gd name="T9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7" h="198">
                  <a:moveTo>
                    <a:pt x="85" y="0"/>
                  </a:moveTo>
                  <a:cubicBezTo>
                    <a:pt x="79" y="0"/>
                    <a:pt x="73" y="1"/>
                    <a:pt x="67" y="1"/>
                  </a:cubicBezTo>
                  <a:cubicBezTo>
                    <a:pt x="58" y="2"/>
                    <a:pt x="51" y="4"/>
                    <a:pt x="46" y="7"/>
                  </a:cubicBezTo>
                  <a:cubicBezTo>
                    <a:pt x="34" y="16"/>
                    <a:pt x="21" y="24"/>
                    <a:pt x="7" y="29"/>
                  </a:cubicBezTo>
                  <a:cubicBezTo>
                    <a:pt x="0" y="45"/>
                    <a:pt x="0" y="45"/>
                    <a:pt x="0" y="45"/>
                  </a:cubicBezTo>
                  <a:cubicBezTo>
                    <a:pt x="2" y="48"/>
                    <a:pt x="8" y="56"/>
                    <a:pt x="9" y="56"/>
                  </a:cubicBezTo>
                  <a:cubicBezTo>
                    <a:pt x="14" y="58"/>
                    <a:pt x="29" y="57"/>
                    <a:pt x="31" y="60"/>
                  </a:cubicBezTo>
                  <a:cubicBezTo>
                    <a:pt x="54" y="90"/>
                    <a:pt x="54" y="90"/>
                    <a:pt x="54" y="90"/>
                  </a:cubicBezTo>
                  <a:cubicBezTo>
                    <a:pt x="86" y="116"/>
                    <a:pt x="86" y="116"/>
                    <a:pt x="86" y="116"/>
                  </a:cubicBezTo>
                  <a:cubicBezTo>
                    <a:pt x="87" y="117"/>
                    <a:pt x="87" y="117"/>
                    <a:pt x="87" y="117"/>
                  </a:cubicBezTo>
                  <a:cubicBezTo>
                    <a:pt x="97" y="136"/>
                    <a:pt x="97" y="136"/>
                    <a:pt x="97" y="136"/>
                  </a:cubicBezTo>
                  <a:cubicBezTo>
                    <a:pt x="116" y="142"/>
                    <a:pt x="116" y="142"/>
                    <a:pt x="116" y="142"/>
                  </a:cubicBezTo>
                  <a:cubicBezTo>
                    <a:pt x="118" y="144"/>
                    <a:pt x="118" y="144"/>
                    <a:pt x="118" y="144"/>
                  </a:cubicBezTo>
                  <a:cubicBezTo>
                    <a:pt x="128" y="167"/>
                    <a:pt x="128" y="167"/>
                    <a:pt x="128" y="167"/>
                  </a:cubicBezTo>
                  <a:cubicBezTo>
                    <a:pt x="145" y="193"/>
                    <a:pt x="145" y="193"/>
                    <a:pt x="145" y="193"/>
                  </a:cubicBezTo>
                  <a:cubicBezTo>
                    <a:pt x="160" y="198"/>
                    <a:pt x="160" y="198"/>
                    <a:pt x="160" y="198"/>
                  </a:cubicBezTo>
                  <a:cubicBezTo>
                    <a:pt x="161" y="196"/>
                    <a:pt x="161" y="193"/>
                    <a:pt x="161" y="191"/>
                  </a:cubicBezTo>
                  <a:cubicBezTo>
                    <a:pt x="161" y="191"/>
                    <a:pt x="161" y="191"/>
                    <a:pt x="161" y="191"/>
                  </a:cubicBezTo>
                  <a:cubicBezTo>
                    <a:pt x="161" y="190"/>
                    <a:pt x="161" y="190"/>
                    <a:pt x="161" y="190"/>
                  </a:cubicBezTo>
                  <a:cubicBezTo>
                    <a:pt x="161" y="190"/>
                    <a:pt x="161" y="190"/>
                    <a:pt x="161" y="190"/>
                  </a:cubicBezTo>
                  <a:cubicBezTo>
                    <a:pt x="161" y="190"/>
                    <a:pt x="161" y="190"/>
                    <a:pt x="161" y="190"/>
                  </a:cubicBezTo>
                  <a:cubicBezTo>
                    <a:pt x="161" y="190"/>
                    <a:pt x="161" y="190"/>
                    <a:pt x="161" y="190"/>
                  </a:cubicBezTo>
                  <a:cubicBezTo>
                    <a:pt x="161" y="189"/>
                    <a:pt x="161" y="189"/>
                    <a:pt x="161" y="189"/>
                  </a:cubicBezTo>
                  <a:cubicBezTo>
                    <a:pt x="161" y="189"/>
                    <a:pt x="161" y="189"/>
                    <a:pt x="161" y="189"/>
                  </a:cubicBezTo>
                  <a:cubicBezTo>
                    <a:pt x="161" y="179"/>
                    <a:pt x="165" y="177"/>
                    <a:pt x="174" y="176"/>
                  </a:cubicBezTo>
                  <a:cubicBezTo>
                    <a:pt x="183" y="175"/>
                    <a:pt x="185" y="174"/>
                    <a:pt x="194" y="165"/>
                  </a:cubicBezTo>
                  <a:cubicBezTo>
                    <a:pt x="203" y="156"/>
                    <a:pt x="210" y="152"/>
                    <a:pt x="221" y="139"/>
                  </a:cubicBezTo>
                  <a:cubicBezTo>
                    <a:pt x="232" y="127"/>
                    <a:pt x="230" y="129"/>
                    <a:pt x="235" y="116"/>
                  </a:cubicBezTo>
                  <a:cubicBezTo>
                    <a:pt x="240" y="102"/>
                    <a:pt x="239" y="98"/>
                    <a:pt x="246" y="84"/>
                  </a:cubicBezTo>
                  <a:cubicBezTo>
                    <a:pt x="247" y="84"/>
                    <a:pt x="247" y="84"/>
                    <a:pt x="247" y="84"/>
                  </a:cubicBezTo>
                  <a:cubicBezTo>
                    <a:pt x="247" y="84"/>
                    <a:pt x="247" y="84"/>
                    <a:pt x="247" y="84"/>
                  </a:cubicBezTo>
                  <a:cubicBezTo>
                    <a:pt x="247" y="83"/>
                    <a:pt x="247" y="83"/>
                    <a:pt x="247" y="83"/>
                  </a:cubicBezTo>
                  <a:cubicBezTo>
                    <a:pt x="247" y="83"/>
                    <a:pt x="247" y="83"/>
                    <a:pt x="247" y="83"/>
                  </a:cubicBezTo>
                  <a:cubicBezTo>
                    <a:pt x="248" y="82"/>
                    <a:pt x="248" y="82"/>
                    <a:pt x="248" y="82"/>
                  </a:cubicBezTo>
                  <a:cubicBezTo>
                    <a:pt x="248" y="82"/>
                    <a:pt x="248" y="82"/>
                    <a:pt x="248" y="82"/>
                  </a:cubicBezTo>
                  <a:cubicBezTo>
                    <a:pt x="248" y="81"/>
                    <a:pt x="248" y="81"/>
                    <a:pt x="248" y="81"/>
                  </a:cubicBezTo>
                  <a:cubicBezTo>
                    <a:pt x="248" y="81"/>
                    <a:pt x="248" y="81"/>
                    <a:pt x="248" y="81"/>
                  </a:cubicBezTo>
                  <a:cubicBezTo>
                    <a:pt x="250" y="80"/>
                    <a:pt x="250" y="80"/>
                    <a:pt x="250" y="80"/>
                  </a:cubicBezTo>
                  <a:cubicBezTo>
                    <a:pt x="250" y="80"/>
                    <a:pt x="250" y="80"/>
                    <a:pt x="250" y="80"/>
                  </a:cubicBezTo>
                  <a:cubicBezTo>
                    <a:pt x="254" y="73"/>
                    <a:pt x="261" y="69"/>
                    <a:pt x="267" y="65"/>
                  </a:cubicBezTo>
                  <a:cubicBezTo>
                    <a:pt x="194" y="12"/>
                    <a:pt x="194" y="12"/>
                    <a:pt x="194" y="12"/>
                  </a:cubicBezTo>
                  <a:cubicBezTo>
                    <a:pt x="136" y="20"/>
                    <a:pt x="136" y="20"/>
                    <a:pt x="136" y="20"/>
                  </a:cubicBezTo>
                  <a:cubicBezTo>
                    <a:pt x="136" y="20"/>
                    <a:pt x="136" y="20"/>
                    <a:pt x="136" y="20"/>
                  </a:cubicBezTo>
                  <a:cubicBezTo>
                    <a:pt x="135" y="20"/>
                    <a:pt x="135" y="20"/>
                    <a:pt x="135" y="20"/>
                  </a:cubicBezTo>
                  <a:cubicBezTo>
                    <a:pt x="133" y="20"/>
                    <a:pt x="133" y="20"/>
                    <a:pt x="133" y="20"/>
                  </a:cubicBezTo>
                  <a:cubicBezTo>
                    <a:pt x="112" y="2"/>
                    <a:pt x="112" y="2"/>
                    <a:pt x="112" y="2"/>
                  </a:cubicBezTo>
                  <a:cubicBezTo>
                    <a:pt x="111" y="2"/>
                    <a:pt x="107" y="1"/>
                    <a:pt x="103" y="1"/>
                  </a:cubicBezTo>
                  <a:cubicBezTo>
                    <a:pt x="98" y="1"/>
                    <a:pt x="92" y="0"/>
                    <a:pt x="85"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70" name="Freeform 10">
              <a:extLst>
                <a:ext uri="{FF2B5EF4-FFF2-40B4-BE49-F238E27FC236}">
                  <a16:creationId xmlns:a16="http://schemas.microsoft.com/office/drawing/2014/main" id="{C438D96B-9FF6-A020-B4D9-35F830D7E2CB}"/>
                </a:ext>
              </a:extLst>
            </p:cNvPr>
            <p:cNvSpPr>
              <a:spLocks/>
            </p:cNvSpPr>
            <p:nvPr/>
          </p:nvSpPr>
          <p:spPr bwMode="auto">
            <a:xfrm>
              <a:off x="6468823" y="3308409"/>
              <a:ext cx="1083611" cy="630944"/>
            </a:xfrm>
            <a:custGeom>
              <a:avLst/>
              <a:gdLst>
                <a:gd name="T0" fmla="*/ 263 w 392"/>
                <a:gd name="T1" fmla="*/ 0 h 227"/>
                <a:gd name="T2" fmla="*/ 262 w 392"/>
                <a:gd name="T3" fmla="*/ 0 h 227"/>
                <a:gd name="T4" fmla="*/ 252 w 392"/>
                <a:gd name="T5" fmla="*/ 13 h 227"/>
                <a:gd name="T6" fmla="*/ 249 w 392"/>
                <a:gd name="T7" fmla="*/ 10 h 227"/>
                <a:gd name="T8" fmla="*/ 229 w 392"/>
                <a:gd name="T9" fmla="*/ 3 h 227"/>
                <a:gd name="T10" fmla="*/ 230 w 392"/>
                <a:gd name="T11" fmla="*/ 15 h 227"/>
                <a:gd name="T12" fmla="*/ 205 w 392"/>
                <a:gd name="T13" fmla="*/ 50 h 227"/>
                <a:gd name="T14" fmla="*/ 184 w 392"/>
                <a:gd name="T15" fmla="*/ 72 h 227"/>
                <a:gd name="T16" fmla="*/ 181 w 392"/>
                <a:gd name="T17" fmla="*/ 71 h 227"/>
                <a:gd name="T18" fmla="*/ 157 w 392"/>
                <a:gd name="T19" fmla="*/ 124 h 227"/>
                <a:gd name="T20" fmla="*/ 123 w 392"/>
                <a:gd name="T21" fmla="*/ 162 h 227"/>
                <a:gd name="T22" fmla="*/ 80 w 392"/>
                <a:gd name="T23" fmla="*/ 173 h 227"/>
                <a:gd name="T24" fmla="*/ 74 w 392"/>
                <a:gd name="T25" fmla="*/ 170 h 227"/>
                <a:gd name="T26" fmla="*/ 63 w 392"/>
                <a:gd name="T27" fmla="*/ 165 h 227"/>
                <a:gd name="T28" fmla="*/ 0 w 392"/>
                <a:gd name="T29" fmla="*/ 227 h 227"/>
                <a:gd name="T30" fmla="*/ 143 w 392"/>
                <a:gd name="T31" fmla="*/ 209 h 227"/>
                <a:gd name="T32" fmla="*/ 392 w 392"/>
                <a:gd name="T33" fmla="*/ 157 h 227"/>
                <a:gd name="T34" fmla="*/ 388 w 392"/>
                <a:gd name="T35" fmla="*/ 144 h 227"/>
                <a:gd name="T36" fmla="*/ 384 w 392"/>
                <a:gd name="T37" fmla="*/ 139 h 227"/>
                <a:gd name="T38" fmla="*/ 374 w 392"/>
                <a:gd name="T39" fmla="*/ 141 h 227"/>
                <a:gd name="T40" fmla="*/ 371 w 392"/>
                <a:gd name="T41" fmla="*/ 141 h 227"/>
                <a:gd name="T42" fmla="*/ 359 w 392"/>
                <a:gd name="T43" fmla="*/ 127 h 227"/>
                <a:gd name="T44" fmla="*/ 360 w 392"/>
                <a:gd name="T45" fmla="*/ 107 h 227"/>
                <a:gd name="T46" fmla="*/ 354 w 392"/>
                <a:gd name="T47" fmla="*/ 93 h 227"/>
                <a:gd name="T48" fmla="*/ 345 w 392"/>
                <a:gd name="T49" fmla="*/ 71 h 227"/>
                <a:gd name="T50" fmla="*/ 336 w 392"/>
                <a:gd name="T51" fmla="*/ 72 h 227"/>
                <a:gd name="T52" fmla="*/ 325 w 392"/>
                <a:gd name="T53" fmla="*/ 74 h 227"/>
                <a:gd name="T54" fmla="*/ 301 w 392"/>
                <a:gd name="T55" fmla="*/ 58 h 227"/>
                <a:gd name="T56" fmla="*/ 296 w 392"/>
                <a:gd name="T57" fmla="*/ 53 h 227"/>
                <a:gd name="T58" fmla="*/ 297 w 392"/>
                <a:gd name="T59" fmla="*/ 43 h 227"/>
                <a:gd name="T60" fmla="*/ 299 w 392"/>
                <a:gd name="T61" fmla="*/ 38 h 227"/>
                <a:gd name="T62" fmla="*/ 305 w 392"/>
                <a:gd name="T63" fmla="*/ 42 h 227"/>
                <a:gd name="T64" fmla="*/ 322 w 392"/>
                <a:gd name="T65" fmla="*/ 55 h 227"/>
                <a:gd name="T66" fmla="*/ 324 w 392"/>
                <a:gd name="T67" fmla="*/ 47 h 227"/>
                <a:gd name="T68" fmla="*/ 324 w 392"/>
                <a:gd name="T69" fmla="*/ 47 h 227"/>
                <a:gd name="T70" fmla="*/ 301 w 392"/>
                <a:gd name="T71" fmla="*/ 2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227">
                  <a:moveTo>
                    <a:pt x="263" y="0"/>
                  </a:moveTo>
                  <a:cubicBezTo>
                    <a:pt x="263" y="0"/>
                    <a:pt x="263" y="0"/>
                    <a:pt x="263" y="0"/>
                  </a:cubicBezTo>
                  <a:cubicBezTo>
                    <a:pt x="263" y="0"/>
                    <a:pt x="263" y="0"/>
                    <a:pt x="263" y="0"/>
                  </a:cubicBezTo>
                  <a:cubicBezTo>
                    <a:pt x="262" y="0"/>
                    <a:pt x="262" y="0"/>
                    <a:pt x="262" y="0"/>
                  </a:cubicBezTo>
                  <a:cubicBezTo>
                    <a:pt x="261" y="0"/>
                    <a:pt x="261" y="0"/>
                    <a:pt x="261" y="0"/>
                  </a:cubicBezTo>
                  <a:cubicBezTo>
                    <a:pt x="259" y="5"/>
                    <a:pt x="255" y="13"/>
                    <a:pt x="252" y="13"/>
                  </a:cubicBezTo>
                  <a:cubicBezTo>
                    <a:pt x="250" y="11"/>
                    <a:pt x="250" y="11"/>
                    <a:pt x="250" y="11"/>
                  </a:cubicBezTo>
                  <a:cubicBezTo>
                    <a:pt x="249" y="10"/>
                    <a:pt x="249" y="10"/>
                    <a:pt x="249" y="10"/>
                  </a:cubicBezTo>
                  <a:cubicBezTo>
                    <a:pt x="248" y="10"/>
                    <a:pt x="247" y="9"/>
                    <a:pt x="245" y="8"/>
                  </a:cubicBezTo>
                  <a:cubicBezTo>
                    <a:pt x="240" y="5"/>
                    <a:pt x="234" y="3"/>
                    <a:pt x="229" y="3"/>
                  </a:cubicBezTo>
                  <a:cubicBezTo>
                    <a:pt x="228" y="3"/>
                    <a:pt x="228" y="3"/>
                    <a:pt x="228" y="3"/>
                  </a:cubicBezTo>
                  <a:cubicBezTo>
                    <a:pt x="230" y="8"/>
                    <a:pt x="230" y="12"/>
                    <a:pt x="230" y="15"/>
                  </a:cubicBezTo>
                  <a:cubicBezTo>
                    <a:pt x="230" y="21"/>
                    <a:pt x="227" y="25"/>
                    <a:pt x="221" y="32"/>
                  </a:cubicBezTo>
                  <a:cubicBezTo>
                    <a:pt x="216" y="36"/>
                    <a:pt x="206" y="44"/>
                    <a:pt x="205" y="50"/>
                  </a:cubicBezTo>
                  <a:cubicBezTo>
                    <a:pt x="203" y="61"/>
                    <a:pt x="194" y="72"/>
                    <a:pt x="186" y="72"/>
                  </a:cubicBezTo>
                  <a:cubicBezTo>
                    <a:pt x="184" y="72"/>
                    <a:pt x="184" y="72"/>
                    <a:pt x="184" y="72"/>
                  </a:cubicBezTo>
                  <a:cubicBezTo>
                    <a:pt x="183" y="72"/>
                    <a:pt x="183" y="72"/>
                    <a:pt x="183" y="72"/>
                  </a:cubicBezTo>
                  <a:cubicBezTo>
                    <a:pt x="181" y="71"/>
                    <a:pt x="181" y="71"/>
                    <a:pt x="181" y="71"/>
                  </a:cubicBezTo>
                  <a:cubicBezTo>
                    <a:pt x="174" y="71"/>
                    <a:pt x="174" y="78"/>
                    <a:pt x="171" y="86"/>
                  </a:cubicBezTo>
                  <a:cubicBezTo>
                    <a:pt x="167" y="96"/>
                    <a:pt x="158" y="116"/>
                    <a:pt x="157" y="124"/>
                  </a:cubicBezTo>
                  <a:cubicBezTo>
                    <a:pt x="156" y="140"/>
                    <a:pt x="138" y="157"/>
                    <a:pt x="123" y="162"/>
                  </a:cubicBezTo>
                  <a:cubicBezTo>
                    <a:pt x="123" y="162"/>
                    <a:pt x="123" y="162"/>
                    <a:pt x="123" y="162"/>
                  </a:cubicBezTo>
                  <a:cubicBezTo>
                    <a:pt x="123" y="162"/>
                    <a:pt x="123" y="162"/>
                    <a:pt x="123" y="162"/>
                  </a:cubicBezTo>
                  <a:cubicBezTo>
                    <a:pt x="116" y="164"/>
                    <a:pt x="89" y="173"/>
                    <a:pt x="80" y="173"/>
                  </a:cubicBezTo>
                  <a:cubicBezTo>
                    <a:pt x="79" y="173"/>
                    <a:pt x="78" y="172"/>
                    <a:pt x="78" y="172"/>
                  </a:cubicBezTo>
                  <a:cubicBezTo>
                    <a:pt x="76" y="172"/>
                    <a:pt x="75" y="171"/>
                    <a:pt x="74" y="170"/>
                  </a:cubicBezTo>
                  <a:cubicBezTo>
                    <a:pt x="73" y="169"/>
                    <a:pt x="72" y="168"/>
                    <a:pt x="69" y="167"/>
                  </a:cubicBezTo>
                  <a:cubicBezTo>
                    <a:pt x="67" y="166"/>
                    <a:pt x="65" y="166"/>
                    <a:pt x="63" y="165"/>
                  </a:cubicBezTo>
                  <a:cubicBezTo>
                    <a:pt x="30" y="200"/>
                    <a:pt x="30" y="200"/>
                    <a:pt x="30" y="200"/>
                  </a:cubicBezTo>
                  <a:cubicBezTo>
                    <a:pt x="0" y="227"/>
                    <a:pt x="0" y="227"/>
                    <a:pt x="0" y="227"/>
                  </a:cubicBezTo>
                  <a:cubicBezTo>
                    <a:pt x="59" y="218"/>
                    <a:pt x="59" y="218"/>
                    <a:pt x="59" y="218"/>
                  </a:cubicBezTo>
                  <a:cubicBezTo>
                    <a:pt x="143" y="209"/>
                    <a:pt x="143" y="209"/>
                    <a:pt x="143" y="209"/>
                  </a:cubicBezTo>
                  <a:cubicBezTo>
                    <a:pt x="146" y="209"/>
                    <a:pt x="178" y="200"/>
                    <a:pt x="235" y="191"/>
                  </a:cubicBezTo>
                  <a:cubicBezTo>
                    <a:pt x="275" y="184"/>
                    <a:pt x="348" y="167"/>
                    <a:pt x="392" y="157"/>
                  </a:cubicBezTo>
                  <a:cubicBezTo>
                    <a:pt x="391" y="153"/>
                    <a:pt x="390" y="149"/>
                    <a:pt x="388" y="144"/>
                  </a:cubicBezTo>
                  <a:cubicBezTo>
                    <a:pt x="388" y="144"/>
                    <a:pt x="388" y="144"/>
                    <a:pt x="388" y="144"/>
                  </a:cubicBezTo>
                  <a:cubicBezTo>
                    <a:pt x="388" y="143"/>
                    <a:pt x="388" y="143"/>
                    <a:pt x="388" y="143"/>
                  </a:cubicBezTo>
                  <a:cubicBezTo>
                    <a:pt x="387" y="141"/>
                    <a:pt x="386" y="139"/>
                    <a:pt x="384" y="139"/>
                  </a:cubicBezTo>
                  <a:cubicBezTo>
                    <a:pt x="382" y="139"/>
                    <a:pt x="382" y="139"/>
                    <a:pt x="382" y="139"/>
                  </a:cubicBezTo>
                  <a:cubicBezTo>
                    <a:pt x="380" y="139"/>
                    <a:pt x="376" y="140"/>
                    <a:pt x="374" y="141"/>
                  </a:cubicBezTo>
                  <a:cubicBezTo>
                    <a:pt x="373" y="141"/>
                    <a:pt x="372" y="141"/>
                    <a:pt x="371" y="141"/>
                  </a:cubicBezTo>
                  <a:cubicBezTo>
                    <a:pt x="371" y="141"/>
                    <a:pt x="371" y="141"/>
                    <a:pt x="371" y="141"/>
                  </a:cubicBezTo>
                  <a:cubicBezTo>
                    <a:pt x="371" y="141"/>
                    <a:pt x="371" y="141"/>
                    <a:pt x="371" y="141"/>
                  </a:cubicBezTo>
                  <a:cubicBezTo>
                    <a:pt x="366" y="141"/>
                    <a:pt x="367" y="132"/>
                    <a:pt x="359" y="127"/>
                  </a:cubicBezTo>
                  <a:cubicBezTo>
                    <a:pt x="355" y="125"/>
                    <a:pt x="354" y="123"/>
                    <a:pt x="354" y="121"/>
                  </a:cubicBezTo>
                  <a:cubicBezTo>
                    <a:pt x="354" y="119"/>
                    <a:pt x="357" y="115"/>
                    <a:pt x="360" y="107"/>
                  </a:cubicBezTo>
                  <a:cubicBezTo>
                    <a:pt x="361" y="104"/>
                    <a:pt x="362" y="102"/>
                    <a:pt x="362" y="100"/>
                  </a:cubicBezTo>
                  <a:cubicBezTo>
                    <a:pt x="362" y="96"/>
                    <a:pt x="356" y="99"/>
                    <a:pt x="354" y="93"/>
                  </a:cubicBezTo>
                  <a:cubicBezTo>
                    <a:pt x="351" y="86"/>
                    <a:pt x="353" y="74"/>
                    <a:pt x="348" y="71"/>
                  </a:cubicBezTo>
                  <a:cubicBezTo>
                    <a:pt x="347" y="71"/>
                    <a:pt x="346" y="71"/>
                    <a:pt x="345" y="71"/>
                  </a:cubicBezTo>
                  <a:cubicBezTo>
                    <a:pt x="343" y="71"/>
                    <a:pt x="340" y="71"/>
                    <a:pt x="337" y="72"/>
                  </a:cubicBezTo>
                  <a:cubicBezTo>
                    <a:pt x="336" y="72"/>
                    <a:pt x="336" y="72"/>
                    <a:pt x="336" y="72"/>
                  </a:cubicBezTo>
                  <a:cubicBezTo>
                    <a:pt x="335" y="72"/>
                    <a:pt x="333" y="73"/>
                    <a:pt x="332" y="73"/>
                  </a:cubicBezTo>
                  <a:cubicBezTo>
                    <a:pt x="330" y="73"/>
                    <a:pt x="327" y="74"/>
                    <a:pt x="325" y="74"/>
                  </a:cubicBezTo>
                  <a:cubicBezTo>
                    <a:pt x="321" y="74"/>
                    <a:pt x="317" y="72"/>
                    <a:pt x="316" y="69"/>
                  </a:cubicBezTo>
                  <a:cubicBezTo>
                    <a:pt x="314" y="59"/>
                    <a:pt x="306" y="58"/>
                    <a:pt x="301" y="58"/>
                  </a:cubicBezTo>
                  <a:cubicBezTo>
                    <a:pt x="300" y="58"/>
                    <a:pt x="300" y="58"/>
                    <a:pt x="300" y="58"/>
                  </a:cubicBezTo>
                  <a:cubicBezTo>
                    <a:pt x="297" y="58"/>
                    <a:pt x="296" y="56"/>
                    <a:pt x="296" y="53"/>
                  </a:cubicBezTo>
                  <a:cubicBezTo>
                    <a:pt x="296" y="50"/>
                    <a:pt x="296" y="47"/>
                    <a:pt x="297" y="43"/>
                  </a:cubicBezTo>
                  <a:cubicBezTo>
                    <a:pt x="297" y="43"/>
                    <a:pt x="297" y="43"/>
                    <a:pt x="297" y="43"/>
                  </a:cubicBezTo>
                  <a:cubicBezTo>
                    <a:pt x="297" y="42"/>
                    <a:pt x="297" y="42"/>
                    <a:pt x="297" y="42"/>
                  </a:cubicBezTo>
                  <a:cubicBezTo>
                    <a:pt x="298" y="40"/>
                    <a:pt x="298" y="39"/>
                    <a:pt x="299" y="38"/>
                  </a:cubicBezTo>
                  <a:cubicBezTo>
                    <a:pt x="301" y="38"/>
                    <a:pt x="301" y="38"/>
                    <a:pt x="301" y="38"/>
                  </a:cubicBezTo>
                  <a:cubicBezTo>
                    <a:pt x="303" y="38"/>
                    <a:pt x="304" y="39"/>
                    <a:pt x="305" y="42"/>
                  </a:cubicBezTo>
                  <a:cubicBezTo>
                    <a:pt x="307" y="48"/>
                    <a:pt x="310" y="53"/>
                    <a:pt x="319" y="55"/>
                  </a:cubicBezTo>
                  <a:cubicBezTo>
                    <a:pt x="320" y="55"/>
                    <a:pt x="321" y="55"/>
                    <a:pt x="322" y="55"/>
                  </a:cubicBezTo>
                  <a:cubicBezTo>
                    <a:pt x="326" y="55"/>
                    <a:pt x="324" y="52"/>
                    <a:pt x="324" y="49"/>
                  </a:cubicBezTo>
                  <a:cubicBezTo>
                    <a:pt x="324" y="47"/>
                    <a:pt x="324" y="47"/>
                    <a:pt x="324" y="47"/>
                  </a:cubicBezTo>
                  <a:cubicBezTo>
                    <a:pt x="324" y="47"/>
                    <a:pt x="324" y="47"/>
                    <a:pt x="324" y="47"/>
                  </a:cubicBezTo>
                  <a:cubicBezTo>
                    <a:pt x="324" y="47"/>
                    <a:pt x="324" y="47"/>
                    <a:pt x="324" y="47"/>
                  </a:cubicBezTo>
                  <a:cubicBezTo>
                    <a:pt x="324" y="44"/>
                    <a:pt x="325" y="40"/>
                    <a:pt x="327" y="33"/>
                  </a:cubicBezTo>
                  <a:cubicBezTo>
                    <a:pt x="320" y="31"/>
                    <a:pt x="310" y="29"/>
                    <a:pt x="301" y="28"/>
                  </a:cubicBezTo>
                  <a:cubicBezTo>
                    <a:pt x="272" y="24"/>
                    <a:pt x="285" y="6"/>
                    <a:pt x="263" y="0"/>
                  </a:cubicBezTo>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71" name="Freeform 12">
              <a:extLst>
                <a:ext uri="{FF2B5EF4-FFF2-40B4-BE49-F238E27FC236}">
                  <a16:creationId xmlns:a16="http://schemas.microsoft.com/office/drawing/2014/main" id="{5C9B2495-B049-56E2-2AC6-F7C862DAC633}"/>
                </a:ext>
              </a:extLst>
            </p:cNvPr>
            <p:cNvSpPr>
              <a:spLocks/>
            </p:cNvSpPr>
            <p:nvPr/>
          </p:nvSpPr>
          <p:spPr bwMode="auto">
            <a:xfrm>
              <a:off x="2061518" y="1562850"/>
              <a:ext cx="1508375" cy="919287"/>
            </a:xfrm>
            <a:custGeom>
              <a:avLst/>
              <a:gdLst>
                <a:gd name="T0" fmla="*/ 16 w 545"/>
                <a:gd name="T1" fmla="*/ 0 h 331"/>
                <a:gd name="T2" fmla="*/ 0 w 545"/>
                <a:gd name="T3" fmla="*/ 60 h 331"/>
                <a:gd name="T4" fmla="*/ 11 w 545"/>
                <a:gd name="T5" fmla="*/ 77 h 331"/>
                <a:gd name="T6" fmla="*/ 11 w 545"/>
                <a:gd name="T7" fmla="*/ 79 h 331"/>
                <a:gd name="T8" fmla="*/ 10 w 545"/>
                <a:gd name="T9" fmla="*/ 101 h 331"/>
                <a:gd name="T10" fmla="*/ 17 w 545"/>
                <a:gd name="T11" fmla="*/ 109 h 331"/>
                <a:gd name="T12" fmla="*/ 32 w 545"/>
                <a:gd name="T13" fmla="*/ 125 h 331"/>
                <a:gd name="T14" fmla="*/ 32 w 545"/>
                <a:gd name="T15" fmla="*/ 126 h 331"/>
                <a:gd name="T16" fmla="*/ 44 w 545"/>
                <a:gd name="T17" fmla="*/ 151 h 331"/>
                <a:gd name="T18" fmla="*/ 51 w 545"/>
                <a:gd name="T19" fmla="*/ 159 h 331"/>
                <a:gd name="T20" fmla="*/ 62 w 545"/>
                <a:gd name="T21" fmla="*/ 169 h 331"/>
                <a:gd name="T22" fmla="*/ 56 w 545"/>
                <a:gd name="T23" fmla="*/ 183 h 331"/>
                <a:gd name="T24" fmla="*/ 56 w 545"/>
                <a:gd name="T25" fmla="*/ 198 h 331"/>
                <a:gd name="T26" fmla="*/ 43 w 545"/>
                <a:gd name="T27" fmla="*/ 222 h 331"/>
                <a:gd name="T28" fmla="*/ 42 w 545"/>
                <a:gd name="T29" fmla="*/ 233 h 331"/>
                <a:gd name="T30" fmla="*/ 47 w 545"/>
                <a:gd name="T31" fmla="*/ 237 h 331"/>
                <a:gd name="T32" fmla="*/ 53 w 545"/>
                <a:gd name="T33" fmla="*/ 233 h 331"/>
                <a:gd name="T34" fmla="*/ 63 w 545"/>
                <a:gd name="T35" fmla="*/ 227 h 331"/>
                <a:gd name="T36" fmla="*/ 73 w 545"/>
                <a:gd name="T37" fmla="*/ 235 h 331"/>
                <a:gd name="T38" fmla="*/ 75 w 545"/>
                <a:gd name="T39" fmla="*/ 246 h 331"/>
                <a:gd name="T40" fmla="*/ 83 w 545"/>
                <a:gd name="T41" fmla="*/ 281 h 331"/>
                <a:gd name="T42" fmla="*/ 83 w 545"/>
                <a:gd name="T43" fmla="*/ 282 h 331"/>
                <a:gd name="T44" fmla="*/ 83 w 545"/>
                <a:gd name="T45" fmla="*/ 286 h 331"/>
                <a:gd name="T46" fmla="*/ 83 w 545"/>
                <a:gd name="T47" fmla="*/ 290 h 331"/>
                <a:gd name="T48" fmla="*/ 83 w 545"/>
                <a:gd name="T49" fmla="*/ 291 h 331"/>
                <a:gd name="T50" fmla="*/ 97 w 545"/>
                <a:gd name="T51" fmla="*/ 300 h 331"/>
                <a:gd name="T52" fmla="*/ 99 w 545"/>
                <a:gd name="T53" fmla="*/ 321 h 331"/>
                <a:gd name="T54" fmla="*/ 115 w 545"/>
                <a:gd name="T55" fmla="*/ 315 h 331"/>
                <a:gd name="T56" fmla="*/ 116 w 545"/>
                <a:gd name="T57" fmla="*/ 315 h 331"/>
                <a:gd name="T58" fmla="*/ 138 w 545"/>
                <a:gd name="T59" fmla="*/ 320 h 331"/>
                <a:gd name="T60" fmla="*/ 168 w 545"/>
                <a:gd name="T61" fmla="*/ 320 h 331"/>
                <a:gd name="T62" fmla="*/ 180 w 545"/>
                <a:gd name="T63" fmla="*/ 310 h 331"/>
                <a:gd name="T64" fmla="*/ 180 w 545"/>
                <a:gd name="T65" fmla="*/ 310 h 331"/>
                <a:gd name="T66" fmla="*/ 181 w 545"/>
                <a:gd name="T67" fmla="*/ 310 h 331"/>
                <a:gd name="T68" fmla="*/ 181 w 545"/>
                <a:gd name="T69" fmla="*/ 310 h 331"/>
                <a:gd name="T70" fmla="*/ 181 w 545"/>
                <a:gd name="T71" fmla="*/ 310 h 331"/>
                <a:gd name="T72" fmla="*/ 190 w 545"/>
                <a:gd name="T73" fmla="*/ 323 h 331"/>
                <a:gd name="T74" fmla="*/ 194 w 545"/>
                <a:gd name="T75" fmla="*/ 301 h 331"/>
                <a:gd name="T76" fmla="*/ 197 w 545"/>
                <a:gd name="T77" fmla="*/ 298 h 331"/>
                <a:gd name="T78" fmla="*/ 197 w 545"/>
                <a:gd name="T79" fmla="*/ 298 h 331"/>
                <a:gd name="T80" fmla="*/ 372 w 545"/>
                <a:gd name="T81" fmla="*/ 317 h 331"/>
                <a:gd name="T82" fmla="*/ 525 w 545"/>
                <a:gd name="T83" fmla="*/ 331 h 331"/>
                <a:gd name="T84" fmla="*/ 545 w 545"/>
                <a:gd name="T85" fmla="*/ 71 h 331"/>
                <a:gd name="T86" fmla="*/ 510 w 545"/>
                <a:gd name="T87" fmla="*/ 70 h 331"/>
                <a:gd name="T88" fmla="*/ 509 w 545"/>
                <a:gd name="T89" fmla="*/ 70 h 331"/>
                <a:gd name="T90" fmla="*/ 506 w 545"/>
                <a:gd name="T91" fmla="*/ 70 h 331"/>
                <a:gd name="T92" fmla="*/ 166 w 545"/>
                <a:gd name="T93" fmla="*/ 29 h 331"/>
                <a:gd name="T94" fmla="*/ 165 w 545"/>
                <a:gd name="T95" fmla="*/ 28 h 331"/>
                <a:gd name="T96" fmla="*/ 164 w 545"/>
                <a:gd name="T97" fmla="*/ 28 h 331"/>
                <a:gd name="T98" fmla="*/ 163 w 545"/>
                <a:gd name="T99" fmla="*/ 28 h 331"/>
                <a:gd name="T100" fmla="*/ 60 w 545"/>
                <a:gd name="T101" fmla="*/ 9 h 331"/>
                <a:gd name="T102" fmla="*/ 16 w 545"/>
                <a:gd name="T103"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5" h="331">
                  <a:moveTo>
                    <a:pt x="16" y="0"/>
                  </a:moveTo>
                  <a:cubicBezTo>
                    <a:pt x="0" y="60"/>
                    <a:pt x="0" y="60"/>
                    <a:pt x="0" y="60"/>
                  </a:cubicBezTo>
                  <a:cubicBezTo>
                    <a:pt x="11" y="77"/>
                    <a:pt x="11" y="77"/>
                    <a:pt x="11" y="77"/>
                  </a:cubicBezTo>
                  <a:cubicBezTo>
                    <a:pt x="11" y="79"/>
                    <a:pt x="11" y="79"/>
                    <a:pt x="11" y="79"/>
                  </a:cubicBezTo>
                  <a:cubicBezTo>
                    <a:pt x="10" y="101"/>
                    <a:pt x="10" y="101"/>
                    <a:pt x="10" y="101"/>
                  </a:cubicBezTo>
                  <a:cubicBezTo>
                    <a:pt x="17" y="109"/>
                    <a:pt x="17" y="109"/>
                    <a:pt x="17" y="109"/>
                  </a:cubicBezTo>
                  <a:cubicBezTo>
                    <a:pt x="32" y="125"/>
                    <a:pt x="32" y="125"/>
                    <a:pt x="32" y="125"/>
                  </a:cubicBezTo>
                  <a:cubicBezTo>
                    <a:pt x="32" y="126"/>
                    <a:pt x="32" y="126"/>
                    <a:pt x="32" y="126"/>
                  </a:cubicBezTo>
                  <a:cubicBezTo>
                    <a:pt x="44" y="151"/>
                    <a:pt x="44" y="151"/>
                    <a:pt x="44" y="151"/>
                  </a:cubicBezTo>
                  <a:cubicBezTo>
                    <a:pt x="51" y="159"/>
                    <a:pt x="51" y="159"/>
                    <a:pt x="51" y="159"/>
                  </a:cubicBezTo>
                  <a:cubicBezTo>
                    <a:pt x="60" y="165"/>
                    <a:pt x="62" y="167"/>
                    <a:pt x="62" y="169"/>
                  </a:cubicBezTo>
                  <a:cubicBezTo>
                    <a:pt x="62" y="171"/>
                    <a:pt x="59" y="174"/>
                    <a:pt x="56" y="183"/>
                  </a:cubicBezTo>
                  <a:cubicBezTo>
                    <a:pt x="56" y="198"/>
                    <a:pt x="56" y="198"/>
                    <a:pt x="56" y="198"/>
                  </a:cubicBezTo>
                  <a:cubicBezTo>
                    <a:pt x="56" y="202"/>
                    <a:pt x="44" y="214"/>
                    <a:pt x="43" y="222"/>
                  </a:cubicBezTo>
                  <a:cubicBezTo>
                    <a:pt x="42" y="225"/>
                    <a:pt x="42" y="229"/>
                    <a:pt x="42" y="233"/>
                  </a:cubicBezTo>
                  <a:cubicBezTo>
                    <a:pt x="47" y="237"/>
                    <a:pt x="47" y="237"/>
                    <a:pt x="47" y="237"/>
                  </a:cubicBezTo>
                  <a:cubicBezTo>
                    <a:pt x="50" y="235"/>
                    <a:pt x="52" y="234"/>
                    <a:pt x="53" y="233"/>
                  </a:cubicBezTo>
                  <a:cubicBezTo>
                    <a:pt x="59" y="229"/>
                    <a:pt x="61" y="227"/>
                    <a:pt x="63" y="227"/>
                  </a:cubicBezTo>
                  <a:cubicBezTo>
                    <a:pt x="66" y="227"/>
                    <a:pt x="68" y="229"/>
                    <a:pt x="73" y="235"/>
                  </a:cubicBezTo>
                  <a:cubicBezTo>
                    <a:pt x="75" y="236"/>
                    <a:pt x="75" y="246"/>
                    <a:pt x="75" y="246"/>
                  </a:cubicBezTo>
                  <a:cubicBezTo>
                    <a:pt x="77" y="259"/>
                    <a:pt x="83" y="268"/>
                    <a:pt x="83" y="281"/>
                  </a:cubicBezTo>
                  <a:cubicBezTo>
                    <a:pt x="83" y="282"/>
                    <a:pt x="83" y="282"/>
                    <a:pt x="83" y="282"/>
                  </a:cubicBezTo>
                  <a:cubicBezTo>
                    <a:pt x="83" y="283"/>
                    <a:pt x="83" y="285"/>
                    <a:pt x="83" y="286"/>
                  </a:cubicBezTo>
                  <a:cubicBezTo>
                    <a:pt x="83" y="288"/>
                    <a:pt x="83" y="289"/>
                    <a:pt x="83" y="290"/>
                  </a:cubicBezTo>
                  <a:cubicBezTo>
                    <a:pt x="83" y="291"/>
                    <a:pt x="83" y="291"/>
                    <a:pt x="83" y="291"/>
                  </a:cubicBezTo>
                  <a:cubicBezTo>
                    <a:pt x="85" y="295"/>
                    <a:pt x="96" y="296"/>
                    <a:pt x="97" y="300"/>
                  </a:cubicBezTo>
                  <a:cubicBezTo>
                    <a:pt x="99" y="321"/>
                    <a:pt x="99" y="321"/>
                    <a:pt x="99" y="321"/>
                  </a:cubicBezTo>
                  <a:cubicBezTo>
                    <a:pt x="115" y="315"/>
                    <a:pt x="115" y="315"/>
                    <a:pt x="115" y="315"/>
                  </a:cubicBezTo>
                  <a:cubicBezTo>
                    <a:pt x="116" y="315"/>
                    <a:pt x="116" y="315"/>
                    <a:pt x="116" y="315"/>
                  </a:cubicBezTo>
                  <a:cubicBezTo>
                    <a:pt x="138" y="320"/>
                    <a:pt x="138" y="320"/>
                    <a:pt x="138" y="320"/>
                  </a:cubicBezTo>
                  <a:cubicBezTo>
                    <a:pt x="168" y="320"/>
                    <a:pt x="168" y="320"/>
                    <a:pt x="168" y="320"/>
                  </a:cubicBezTo>
                  <a:cubicBezTo>
                    <a:pt x="175" y="313"/>
                    <a:pt x="177" y="310"/>
                    <a:pt x="180" y="310"/>
                  </a:cubicBezTo>
                  <a:cubicBezTo>
                    <a:pt x="180" y="310"/>
                    <a:pt x="180" y="310"/>
                    <a:pt x="180" y="310"/>
                  </a:cubicBezTo>
                  <a:cubicBezTo>
                    <a:pt x="181" y="310"/>
                    <a:pt x="181" y="310"/>
                    <a:pt x="181" y="310"/>
                  </a:cubicBezTo>
                  <a:cubicBezTo>
                    <a:pt x="181" y="310"/>
                    <a:pt x="181" y="310"/>
                    <a:pt x="181" y="310"/>
                  </a:cubicBezTo>
                  <a:cubicBezTo>
                    <a:pt x="181" y="310"/>
                    <a:pt x="181" y="310"/>
                    <a:pt x="181" y="310"/>
                  </a:cubicBezTo>
                  <a:cubicBezTo>
                    <a:pt x="183" y="312"/>
                    <a:pt x="185" y="316"/>
                    <a:pt x="190" y="323"/>
                  </a:cubicBezTo>
                  <a:cubicBezTo>
                    <a:pt x="194" y="301"/>
                    <a:pt x="194" y="301"/>
                    <a:pt x="194" y="301"/>
                  </a:cubicBezTo>
                  <a:cubicBezTo>
                    <a:pt x="194" y="299"/>
                    <a:pt x="195" y="298"/>
                    <a:pt x="197" y="298"/>
                  </a:cubicBezTo>
                  <a:cubicBezTo>
                    <a:pt x="197" y="298"/>
                    <a:pt x="197" y="298"/>
                    <a:pt x="197" y="298"/>
                  </a:cubicBezTo>
                  <a:cubicBezTo>
                    <a:pt x="372" y="317"/>
                    <a:pt x="372" y="317"/>
                    <a:pt x="372" y="317"/>
                  </a:cubicBezTo>
                  <a:cubicBezTo>
                    <a:pt x="525" y="331"/>
                    <a:pt x="525" y="331"/>
                    <a:pt x="525" y="331"/>
                  </a:cubicBezTo>
                  <a:cubicBezTo>
                    <a:pt x="545" y="71"/>
                    <a:pt x="545" y="71"/>
                    <a:pt x="545" y="71"/>
                  </a:cubicBezTo>
                  <a:cubicBezTo>
                    <a:pt x="530" y="70"/>
                    <a:pt x="518" y="70"/>
                    <a:pt x="510" y="70"/>
                  </a:cubicBezTo>
                  <a:cubicBezTo>
                    <a:pt x="509" y="70"/>
                    <a:pt x="509" y="70"/>
                    <a:pt x="509" y="70"/>
                  </a:cubicBezTo>
                  <a:cubicBezTo>
                    <a:pt x="508" y="70"/>
                    <a:pt x="507" y="70"/>
                    <a:pt x="506" y="70"/>
                  </a:cubicBezTo>
                  <a:cubicBezTo>
                    <a:pt x="456" y="70"/>
                    <a:pt x="251" y="41"/>
                    <a:pt x="166" y="29"/>
                  </a:cubicBezTo>
                  <a:cubicBezTo>
                    <a:pt x="165" y="28"/>
                    <a:pt x="165" y="28"/>
                    <a:pt x="165" y="28"/>
                  </a:cubicBezTo>
                  <a:cubicBezTo>
                    <a:pt x="164" y="28"/>
                    <a:pt x="164" y="28"/>
                    <a:pt x="164" y="28"/>
                  </a:cubicBezTo>
                  <a:cubicBezTo>
                    <a:pt x="163" y="28"/>
                    <a:pt x="163" y="28"/>
                    <a:pt x="163" y="28"/>
                  </a:cubicBezTo>
                  <a:cubicBezTo>
                    <a:pt x="135" y="24"/>
                    <a:pt x="98" y="17"/>
                    <a:pt x="60" y="9"/>
                  </a:cubicBezTo>
                  <a:cubicBezTo>
                    <a:pt x="45" y="6"/>
                    <a:pt x="31" y="3"/>
                    <a:pt x="16"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72" name="Freeform 13">
              <a:extLst>
                <a:ext uri="{FF2B5EF4-FFF2-40B4-BE49-F238E27FC236}">
                  <a16:creationId xmlns:a16="http://schemas.microsoft.com/office/drawing/2014/main" id="{6BF4CDB8-7C14-5CCF-5844-7C097E463F09}"/>
                </a:ext>
              </a:extLst>
            </p:cNvPr>
            <p:cNvSpPr>
              <a:spLocks/>
            </p:cNvSpPr>
            <p:nvPr/>
          </p:nvSpPr>
          <p:spPr bwMode="auto">
            <a:xfrm>
              <a:off x="1715818" y="1534946"/>
              <a:ext cx="865028" cy="1407609"/>
            </a:xfrm>
            <a:custGeom>
              <a:avLst/>
              <a:gdLst>
                <a:gd name="T0" fmla="*/ 95 w 313"/>
                <a:gd name="T1" fmla="*/ 0 h 507"/>
                <a:gd name="T2" fmla="*/ 83 w 313"/>
                <a:gd name="T3" fmla="*/ 68 h 507"/>
                <a:gd name="T4" fmla="*/ 65 w 313"/>
                <a:gd name="T5" fmla="*/ 153 h 507"/>
                <a:gd name="T6" fmla="*/ 61 w 313"/>
                <a:gd name="T7" fmla="*/ 202 h 507"/>
                <a:gd name="T8" fmla="*/ 75 w 313"/>
                <a:gd name="T9" fmla="*/ 218 h 507"/>
                <a:gd name="T10" fmla="*/ 75 w 313"/>
                <a:gd name="T11" fmla="*/ 218 h 507"/>
                <a:gd name="T12" fmla="*/ 72 w 313"/>
                <a:gd name="T13" fmla="*/ 233 h 507"/>
                <a:gd name="T14" fmla="*/ 72 w 313"/>
                <a:gd name="T15" fmla="*/ 234 h 507"/>
                <a:gd name="T16" fmla="*/ 58 w 313"/>
                <a:gd name="T17" fmla="*/ 255 h 507"/>
                <a:gd name="T18" fmla="*/ 40 w 313"/>
                <a:gd name="T19" fmla="*/ 278 h 507"/>
                <a:gd name="T20" fmla="*/ 24 w 313"/>
                <a:gd name="T21" fmla="*/ 298 h 507"/>
                <a:gd name="T22" fmla="*/ 27 w 313"/>
                <a:gd name="T23" fmla="*/ 301 h 507"/>
                <a:gd name="T24" fmla="*/ 29 w 313"/>
                <a:gd name="T25" fmla="*/ 303 h 507"/>
                <a:gd name="T26" fmla="*/ 35 w 313"/>
                <a:gd name="T27" fmla="*/ 315 h 507"/>
                <a:gd name="T28" fmla="*/ 29 w 313"/>
                <a:gd name="T29" fmla="*/ 332 h 507"/>
                <a:gd name="T30" fmla="*/ 21 w 313"/>
                <a:gd name="T31" fmla="*/ 358 h 507"/>
                <a:gd name="T32" fmla="*/ 4 w 313"/>
                <a:gd name="T33" fmla="*/ 437 h 507"/>
                <a:gd name="T34" fmla="*/ 0 w 313"/>
                <a:gd name="T35" fmla="*/ 454 h 507"/>
                <a:gd name="T36" fmla="*/ 220 w 313"/>
                <a:gd name="T37" fmla="*/ 499 h 507"/>
                <a:gd name="T38" fmla="*/ 287 w 313"/>
                <a:gd name="T39" fmla="*/ 507 h 507"/>
                <a:gd name="T40" fmla="*/ 291 w 313"/>
                <a:gd name="T41" fmla="*/ 491 h 507"/>
                <a:gd name="T42" fmla="*/ 294 w 313"/>
                <a:gd name="T43" fmla="*/ 463 h 507"/>
                <a:gd name="T44" fmla="*/ 313 w 313"/>
                <a:gd name="T45" fmla="*/ 342 h 507"/>
                <a:gd name="T46" fmla="*/ 304 w 313"/>
                <a:gd name="T47" fmla="*/ 328 h 507"/>
                <a:gd name="T48" fmla="*/ 297 w 313"/>
                <a:gd name="T49" fmla="*/ 335 h 507"/>
                <a:gd name="T50" fmla="*/ 295 w 313"/>
                <a:gd name="T51" fmla="*/ 336 h 507"/>
                <a:gd name="T52" fmla="*/ 262 w 313"/>
                <a:gd name="T53" fmla="*/ 336 h 507"/>
                <a:gd name="T54" fmla="*/ 241 w 313"/>
                <a:gd name="T55" fmla="*/ 331 h 507"/>
                <a:gd name="T56" fmla="*/ 222 w 313"/>
                <a:gd name="T57" fmla="*/ 338 h 507"/>
                <a:gd name="T58" fmla="*/ 219 w 313"/>
                <a:gd name="T59" fmla="*/ 337 h 507"/>
                <a:gd name="T60" fmla="*/ 216 w 313"/>
                <a:gd name="T61" fmla="*/ 312 h 507"/>
                <a:gd name="T62" fmla="*/ 202 w 313"/>
                <a:gd name="T63" fmla="*/ 291 h 507"/>
                <a:gd name="T64" fmla="*/ 194 w 313"/>
                <a:gd name="T65" fmla="*/ 257 h 507"/>
                <a:gd name="T66" fmla="*/ 193 w 313"/>
                <a:gd name="T67" fmla="*/ 248 h 507"/>
                <a:gd name="T68" fmla="*/ 189 w 313"/>
                <a:gd name="T69" fmla="*/ 244 h 507"/>
                <a:gd name="T70" fmla="*/ 173 w 313"/>
                <a:gd name="T71" fmla="*/ 254 h 507"/>
                <a:gd name="T72" fmla="*/ 162 w 313"/>
                <a:gd name="T73" fmla="*/ 246 h 507"/>
                <a:gd name="T74" fmla="*/ 160 w 313"/>
                <a:gd name="T75" fmla="*/ 242 h 507"/>
                <a:gd name="T76" fmla="*/ 163 w 313"/>
                <a:gd name="T77" fmla="*/ 226 h 507"/>
                <a:gd name="T78" fmla="*/ 175 w 313"/>
                <a:gd name="T79" fmla="*/ 208 h 507"/>
                <a:gd name="T80" fmla="*/ 175 w 313"/>
                <a:gd name="T81" fmla="*/ 193 h 507"/>
                <a:gd name="T82" fmla="*/ 180 w 313"/>
                <a:gd name="T83" fmla="*/ 180 h 507"/>
                <a:gd name="T84" fmla="*/ 172 w 313"/>
                <a:gd name="T85" fmla="*/ 174 h 507"/>
                <a:gd name="T86" fmla="*/ 164 w 313"/>
                <a:gd name="T87" fmla="*/ 165 h 507"/>
                <a:gd name="T88" fmla="*/ 163 w 313"/>
                <a:gd name="T89" fmla="*/ 164 h 507"/>
                <a:gd name="T90" fmla="*/ 152 w 313"/>
                <a:gd name="T91" fmla="*/ 139 h 507"/>
                <a:gd name="T92" fmla="*/ 138 w 313"/>
                <a:gd name="T93" fmla="*/ 123 h 507"/>
                <a:gd name="T94" fmla="*/ 130 w 313"/>
                <a:gd name="T95" fmla="*/ 114 h 507"/>
                <a:gd name="T96" fmla="*/ 129 w 313"/>
                <a:gd name="T97" fmla="*/ 112 h 507"/>
                <a:gd name="T98" fmla="*/ 130 w 313"/>
                <a:gd name="T99" fmla="*/ 90 h 507"/>
                <a:gd name="T100" fmla="*/ 119 w 313"/>
                <a:gd name="T101" fmla="*/ 72 h 507"/>
                <a:gd name="T102" fmla="*/ 119 w 313"/>
                <a:gd name="T103" fmla="*/ 69 h 507"/>
                <a:gd name="T104" fmla="*/ 135 w 313"/>
                <a:gd name="T105" fmla="*/ 9 h 507"/>
                <a:gd name="T106" fmla="*/ 95 w 313"/>
                <a:gd name="T107" fmla="*/ 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507">
                  <a:moveTo>
                    <a:pt x="95" y="0"/>
                  </a:moveTo>
                  <a:cubicBezTo>
                    <a:pt x="92" y="18"/>
                    <a:pt x="88" y="48"/>
                    <a:pt x="83" y="68"/>
                  </a:cubicBezTo>
                  <a:cubicBezTo>
                    <a:pt x="76" y="97"/>
                    <a:pt x="68" y="133"/>
                    <a:pt x="65" y="153"/>
                  </a:cubicBezTo>
                  <a:cubicBezTo>
                    <a:pt x="63" y="173"/>
                    <a:pt x="61" y="196"/>
                    <a:pt x="61" y="202"/>
                  </a:cubicBezTo>
                  <a:cubicBezTo>
                    <a:pt x="61" y="208"/>
                    <a:pt x="75" y="213"/>
                    <a:pt x="75" y="218"/>
                  </a:cubicBezTo>
                  <a:cubicBezTo>
                    <a:pt x="75" y="218"/>
                    <a:pt x="75" y="218"/>
                    <a:pt x="75" y="218"/>
                  </a:cubicBezTo>
                  <a:cubicBezTo>
                    <a:pt x="72" y="233"/>
                    <a:pt x="72" y="233"/>
                    <a:pt x="72" y="233"/>
                  </a:cubicBezTo>
                  <a:cubicBezTo>
                    <a:pt x="72" y="234"/>
                    <a:pt x="72" y="234"/>
                    <a:pt x="72" y="234"/>
                  </a:cubicBezTo>
                  <a:cubicBezTo>
                    <a:pt x="72" y="234"/>
                    <a:pt x="65" y="245"/>
                    <a:pt x="58" y="255"/>
                  </a:cubicBezTo>
                  <a:cubicBezTo>
                    <a:pt x="56" y="257"/>
                    <a:pt x="44" y="277"/>
                    <a:pt x="40" y="278"/>
                  </a:cubicBezTo>
                  <a:cubicBezTo>
                    <a:pt x="36" y="281"/>
                    <a:pt x="24" y="293"/>
                    <a:pt x="24" y="298"/>
                  </a:cubicBezTo>
                  <a:cubicBezTo>
                    <a:pt x="24" y="299"/>
                    <a:pt x="25" y="300"/>
                    <a:pt x="27" y="301"/>
                  </a:cubicBezTo>
                  <a:cubicBezTo>
                    <a:pt x="29" y="303"/>
                    <a:pt x="29" y="303"/>
                    <a:pt x="29" y="303"/>
                  </a:cubicBezTo>
                  <a:cubicBezTo>
                    <a:pt x="33" y="307"/>
                    <a:pt x="35" y="311"/>
                    <a:pt x="35" y="315"/>
                  </a:cubicBezTo>
                  <a:cubicBezTo>
                    <a:pt x="35" y="320"/>
                    <a:pt x="32" y="326"/>
                    <a:pt x="29" y="332"/>
                  </a:cubicBezTo>
                  <a:cubicBezTo>
                    <a:pt x="26" y="338"/>
                    <a:pt x="23" y="345"/>
                    <a:pt x="21" y="358"/>
                  </a:cubicBezTo>
                  <a:cubicBezTo>
                    <a:pt x="16" y="382"/>
                    <a:pt x="4" y="437"/>
                    <a:pt x="4" y="437"/>
                  </a:cubicBezTo>
                  <a:cubicBezTo>
                    <a:pt x="0" y="454"/>
                    <a:pt x="0" y="454"/>
                    <a:pt x="0" y="454"/>
                  </a:cubicBezTo>
                  <a:cubicBezTo>
                    <a:pt x="81" y="471"/>
                    <a:pt x="182" y="493"/>
                    <a:pt x="220" y="499"/>
                  </a:cubicBezTo>
                  <a:cubicBezTo>
                    <a:pt x="263" y="506"/>
                    <a:pt x="282" y="507"/>
                    <a:pt x="287" y="507"/>
                  </a:cubicBezTo>
                  <a:cubicBezTo>
                    <a:pt x="291" y="491"/>
                    <a:pt x="291" y="491"/>
                    <a:pt x="291" y="491"/>
                  </a:cubicBezTo>
                  <a:cubicBezTo>
                    <a:pt x="294" y="463"/>
                    <a:pt x="294" y="463"/>
                    <a:pt x="294" y="463"/>
                  </a:cubicBezTo>
                  <a:cubicBezTo>
                    <a:pt x="313" y="342"/>
                    <a:pt x="313" y="342"/>
                    <a:pt x="313" y="342"/>
                  </a:cubicBezTo>
                  <a:cubicBezTo>
                    <a:pt x="304" y="328"/>
                    <a:pt x="304" y="328"/>
                    <a:pt x="304" y="328"/>
                  </a:cubicBezTo>
                  <a:cubicBezTo>
                    <a:pt x="297" y="335"/>
                    <a:pt x="297" y="335"/>
                    <a:pt x="297" y="335"/>
                  </a:cubicBezTo>
                  <a:cubicBezTo>
                    <a:pt x="295" y="336"/>
                    <a:pt x="295" y="336"/>
                    <a:pt x="295" y="336"/>
                  </a:cubicBezTo>
                  <a:cubicBezTo>
                    <a:pt x="262" y="336"/>
                    <a:pt x="262" y="336"/>
                    <a:pt x="262" y="336"/>
                  </a:cubicBezTo>
                  <a:cubicBezTo>
                    <a:pt x="241" y="331"/>
                    <a:pt x="241" y="331"/>
                    <a:pt x="241" y="331"/>
                  </a:cubicBezTo>
                  <a:cubicBezTo>
                    <a:pt x="230" y="335"/>
                    <a:pt x="225" y="338"/>
                    <a:pt x="222" y="338"/>
                  </a:cubicBezTo>
                  <a:cubicBezTo>
                    <a:pt x="220" y="338"/>
                    <a:pt x="220" y="338"/>
                    <a:pt x="219" y="337"/>
                  </a:cubicBezTo>
                  <a:cubicBezTo>
                    <a:pt x="217" y="334"/>
                    <a:pt x="218" y="327"/>
                    <a:pt x="216" y="312"/>
                  </a:cubicBezTo>
                  <a:cubicBezTo>
                    <a:pt x="201" y="306"/>
                    <a:pt x="202" y="305"/>
                    <a:pt x="202" y="291"/>
                  </a:cubicBezTo>
                  <a:cubicBezTo>
                    <a:pt x="202" y="279"/>
                    <a:pt x="196" y="270"/>
                    <a:pt x="194" y="257"/>
                  </a:cubicBezTo>
                  <a:cubicBezTo>
                    <a:pt x="194" y="253"/>
                    <a:pt x="193" y="250"/>
                    <a:pt x="193" y="248"/>
                  </a:cubicBezTo>
                  <a:cubicBezTo>
                    <a:pt x="189" y="244"/>
                    <a:pt x="189" y="244"/>
                    <a:pt x="189" y="244"/>
                  </a:cubicBezTo>
                  <a:cubicBezTo>
                    <a:pt x="179" y="250"/>
                    <a:pt x="176" y="254"/>
                    <a:pt x="173" y="254"/>
                  </a:cubicBezTo>
                  <a:cubicBezTo>
                    <a:pt x="171" y="254"/>
                    <a:pt x="168" y="251"/>
                    <a:pt x="162" y="246"/>
                  </a:cubicBezTo>
                  <a:cubicBezTo>
                    <a:pt x="161" y="246"/>
                    <a:pt x="160" y="244"/>
                    <a:pt x="160" y="242"/>
                  </a:cubicBezTo>
                  <a:cubicBezTo>
                    <a:pt x="160" y="236"/>
                    <a:pt x="162" y="228"/>
                    <a:pt x="163" y="226"/>
                  </a:cubicBezTo>
                  <a:cubicBezTo>
                    <a:pt x="166" y="220"/>
                    <a:pt x="171" y="213"/>
                    <a:pt x="175" y="208"/>
                  </a:cubicBezTo>
                  <a:cubicBezTo>
                    <a:pt x="175" y="193"/>
                    <a:pt x="175" y="193"/>
                    <a:pt x="175" y="193"/>
                  </a:cubicBezTo>
                  <a:cubicBezTo>
                    <a:pt x="175" y="190"/>
                    <a:pt x="179" y="183"/>
                    <a:pt x="180" y="180"/>
                  </a:cubicBezTo>
                  <a:cubicBezTo>
                    <a:pt x="172" y="174"/>
                    <a:pt x="172" y="174"/>
                    <a:pt x="172" y="174"/>
                  </a:cubicBezTo>
                  <a:cubicBezTo>
                    <a:pt x="164" y="165"/>
                    <a:pt x="164" y="165"/>
                    <a:pt x="164" y="165"/>
                  </a:cubicBezTo>
                  <a:cubicBezTo>
                    <a:pt x="163" y="164"/>
                    <a:pt x="163" y="164"/>
                    <a:pt x="163" y="164"/>
                  </a:cubicBezTo>
                  <a:cubicBezTo>
                    <a:pt x="152" y="139"/>
                    <a:pt x="152" y="139"/>
                    <a:pt x="152" y="139"/>
                  </a:cubicBezTo>
                  <a:cubicBezTo>
                    <a:pt x="138" y="123"/>
                    <a:pt x="138" y="123"/>
                    <a:pt x="138" y="123"/>
                  </a:cubicBezTo>
                  <a:cubicBezTo>
                    <a:pt x="130" y="114"/>
                    <a:pt x="130" y="114"/>
                    <a:pt x="130" y="114"/>
                  </a:cubicBezTo>
                  <a:cubicBezTo>
                    <a:pt x="129" y="112"/>
                    <a:pt x="129" y="112"/>
                    <a:pt x="129" y="112"/>
                  </a:cubicBezTo>
                  <a:cubicBezTo>
                    <a:pt x="130" y="90"/>
                    <a:pt x="130" y="90"/>
                    <a:pt x="130" y="90"/>
                  </a:cubicBezTo>
                  <a:cubicBezTo>
                    <a:pt x="119" y="72"/>
                    <a:pt x="119" y="72"/>
                    <a:pt x="119" y="72"/>
                  </a:cubicBezTo>
                  <a:cubicBezTo>
                    <a:pt x="119" y="69"/>
                    <a:pt x="119" y="69"/>
                    <a:pt x="119" y="69"/>
                  </a:cubicBezTo>
                  <a:cubicBezTo>
                    <a:pt x="135" y="9"/>
                    <a:pt x="135" y="9"/>
                    <a:pt x="135" y="9"/>
                  </a:cubicBezTo>
                  <a:cubicBezTo>
                    <a:pt x="121" y="6"/>
                    <a:pt x="108" y="3"/>
                    <a:pt x="95"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73" name="Freeform 14">
              <a:extLst>
                <a:ext uri="{FF2B5EF4-FFF2-40B4-BE49-F238E27FC236}">
                  <a16:creationId xmlns:a16="http://schemas.microsoft.com/office/drawing/2014/main" id="{F44775FD-E521-D8DA-BD05-FAB1191A8588}"/>
                </a:ext>
              </a:extLst>
            </p:cNvPr>
            <p:cNvSpPr>
              <a:spLocks/>
            </p:cNvSpPr>
            <p:nvPr/>
          </p:nvSpPr>
          <p:spPr bwMode="auto">
            <a:xfrm>
              <a:off x="5608445" y="3500638"/>
              <a:ext cx="1016951" cy="554983"/>
            </a:xfrm>
            <a:custGeom>
              <a:avLst/>
              <a:gdLst>
                <a:gd name="T0" fmla="*/ 233 w 368"/>
                <a:gd name="T1" fmla="*/ 0 h 200"/>
                <a:gd name="T2" fmla="*/ 216 w 368"/>
                <a:gd name="T3" fmla="*/ 14 h 200"/>
                <a:gd name="T4" fmla="*/ 216 w 368"/>
                <a:gd name="T5" fmla="*/ 14 h 200"/>
                <a:gd name="T6" fmla="*/ 216 w 368"/>
                <a:gd name="T7" fmla="*/ 14 h 200"/>
                <a:gd name="T8" fmla="*/ 214 w 368"/>
                <a:gd name="T9" fmla="*/ 18 h 200"/>
                <a:gd name="T10" fmla="*/ 192 w 368"/>
                <a:gd name="T11" fmla="*/ 39 h 200"/>
                <a:gd name="T12" fmla="*/ 189 w 368"/>
                <a:gd name="T13" fmla="*/ 38 h 200"/>
                <a:gd name="T14" fmla="*/ 182 w 368"/>
                <a:gd name="T15" fmla="*/ 57 h 200"/>
                <a:gd name="T16" fmla="*/ 168 w 368"/>
                <a:gd name="T17" fmla="*/ 70 h 200"/>
                <a:gd name="T18" fmla="*/ 156 w 368"/>
                <a:gd name="T19" fmla="*/ 87 h 200"/>
                <a:gd name="T20" fmla="*/ 151 w 368"/>
                <a:gd name="T21" fmla="*/ 86 h 200"/>
                <a:gd name="T22" fmla="*/ 144 w 368"/>
                <a:gd name="T23" fmla="*/ 81 h 200"/>
                <a:gd name="T24" fmla="*/ 144 w 368"/>
                <a:gd name="T25" fmla="*/ 81 h 200"/>
                <a:gd name="T26" fmla="*/ 125 w 368"/>
                <a:gd name="T27" fmla="*/ 102 h 200"/>
                <a:gd name="T28" fmla="*/ 120 w 368"/>
                <a:gd name="T29" fmla="*/ 99 h 200"/>
                <a:gd name="T30" fmla="*/ 119 w 368"/>
                <a:gd name="T31" fmla="*/ 99 h 200"/>
                <a:gd name="T32" fmla="*/ 113 w 368"/>
                <a:gd name="T33" fmla="*/ 96 h 200"/>
                <a:gd name="T34" fmla="*/ 106 w 368"/>
                <a:gd name="T35" fmla="*/ 100 h 200"/>
                <a:gd name="T36" fmla="*/ 105 w 368"/>
                <a:gd name="T37" fmla="*/ 102 h 200"/>
                <a:gd name="T38" fmla="*/ 102 w 368"/>
                <a:gd name="T39" fmla="*/ 104 h 200"/>
                <a:gd name="T40" fmla="*/ 99 w 368"/>
                <a:gd name="T41" fmla="*/ 103 h 200"/>
                <a:gd name="T42" fmla="*/ 89 w 368"/>
                <a:gd name="T43" fmla="*/ 103 h 200"/>
                <a:gd name="T44" fmla="*/ 67 w 368"/>
                <a:gd name="T45" fmla="*/ 107 h 200"/>
                <a:gd name="T46" fmla="*/ 59 w 368"/>
                <a:gd name="T47" fmla="*/ 109 h 200"/>
                <a:gd name="T48" fmla="*/ 57 w 368"/>
                <a:gd name="T49" fmla="*/ 111 h 200"/>
                <a:gd name="T50" fmla="*/ 56 w 368"/>
                <a:gd name="T51" fmla="*/ 115 h 200"/>
                <a:gd name="T52" fmla="*/ 48 w 368"/>
                <a:gd name="T53" fmla="*/ 136 h 200"/>
                <a:gd name="T54" fmla="*/ 37 w 368"/>
                <a:gd name="T55" fmla="*/ 145 h 200"/>
                <a:gd name="T56" fmla="*/ 38 w 368"/>
                <a:gd name="T57" fmla="*/ 153 h 200"/>
                <a:gd name="T58" fmla="*/ 34 w 368"/>
                <a:gd name="T59" fmla="*/ 165 h 200"/>
                <a:gd name="T60" fmla="*/ 31 w 368"/>
                <a:gd name="T61" fmla="*/ 164 h 200"/>
                <a:gd name="T62" fmla="*/ 14 w 368"/>
                <a:gd name="T63" fmla="*/ 157 h 200"/>
                <a:gd name="T64" fmla="*/ 14 w 368"/>
                <a:gd name="T65" fmla="*/ 157 h 200"/>
                <a:gd name="T66" fmla="*/ 4 w 368"/>
                <a:gd name="T67" fmla="*/ 163 h 200"/>
                <a:gd name="T68" fmla="*/ 4 w 368"/>
                <a:gd name="T69" fmla="*/ 166 h 200"/>
                <a:gd name="T70" fmla="*/ 7 w 368"/>
                <a:gd name="T71" fmla="*/ 178 h 200"/>
                <a:gd name="T72" fmla="*/ 2 w 368"/>
                <a:gd name="T73" fmla="*/ 196 h 200"/>
                <a:gd name="T74" fmla="*/ 1 w 368"/>
                <a:gd name="T75" fmla="*/ 198 h 200"/>
                <a:gd name="T76" fmla="*/ 0 w 368"/>
                <a:gd name="T77" fmla="*/ 200 h 200"/>
                <a:gd name="T78" fmla="*/ 59 w 368"/>
                <a:gd name="T79" fmla="*/ 197 h 200"/>
                <a:gd name="T80" fmla="*/ 59 w 368"/>
                <a:gd name="T81" fmla="*/ 186 h 200"/>
                <a:gd name="T82" fmla="*/ 62 w 368"/>
                <a:gd name="T83" fmla="*/ 183 h 200"/>
                <a:gd name="T84" fmla="*/ 234 w 368"/>
                <a:gd name="T85" fmla="*/ 170 h 200"/>
                <a:gd name="T86" fmla="*/ 300 w 368"/>
                <a:gd name="T87" fmla="*/ 160 h 200"/>
                <a:gd name="T88" fmla="*/ 337 w 368"/>
                <a:gd name="T89" fmla="*/ 126 h 200"/>
                <a:gd name="T90" fmla="*/ 368 w 368"/>
                <a:gd name="T91" fmla="*/ 93 h 200"/>
                <a:gd name="T92" fmla="*/ 349 w 368"/>
                <a:gd name="T93" fmla="*/ 79 h 200"/>
                <a:gd name="T94" fmla="*/ 333 w 368"/>
                <a:gd name="T95" fmla="*/ 37 h 200"/>
                <a:gd name="T96" fmla="*/ 318 w 368"/>
                <a:gd name="T97" fmla="*/ 19 h 200"/>
                <a:gd name="T98" fmla="*/ 317 w 368"/>
                <a:gd name="T99" fmla="*/ 19 h 200"/>
                <a:gd name="T100" fmla="*/ 315 w 368"/>
                <a:gd name="T101" fmla="*/ 18 h 200"/>
                <a:gd name="T102" fmla="*/ 308 w 368"/>
                <a:gd name="T103" fmla="*/ 21 h 200"/>
                <a:gd name="T104" fmla="*/ 304 w 368"/>
                <a:gd name="T105" fmla="*/ 25 h 200"/>
                <a:gd name="T106" fmla="*/ 302 w 368"/>
                <a:gd name="T107" fmla="*/ 28 h 200"/>
                <a:gd name="T108" fmla="*/ 291 w 368"/>
                <a:gd name="T109" fmla="*/ 32 h 200"/>
                <a:gd name="T110" fmla="*/ 265 w 368"/>
                <a:gd name="T111" fmla="*/ 27 h 200"/>
                <a:gd name="T112" fmla="*/ 263 w 368"/>
                <a:gd name="T113" fmla="*/ 26 h 200"/>
                <a:gd name="T114" fmla="*/ 237 w 368"/>
                <a:gd name="T115" fmla="*/ 1 h 200"/>
                <a:gd name="T116" fmla="*/ 233 w 368"/>
                <a:gd name="T1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8" h="200">
                  <a:moveTo>
                    <a:pt x="233" y="0"/>
                  </a:moveTo>
                  <a:cubicBezTo>
                    <a:pt x="226" y="0"/>
                    <a:pt x="220" y="8"/>
                    <a:pt x="216" y="14"/>
                  </a:cubicBezTo>
                  <a:cubicBezTo>
                    <a:pt x="216" y="14"/>
                    <a:pt x="216" y="14"/>
                    <a:pt x="216" y="14"/>
                  </a:cubicBezTo>
                  <a:cubicBezTo>
                    <a:pt x="216" y="14"/>
                    <a:pt x="216" y="14"/>
                    <a:pt x="216" y="14"/>
                  </a:cubicBezTo>
                  <a:cubicBezTo>
                    <a:pt x="215" y="16"/>
                    <a:pt x="215" y="17"/>
                    <a:pt x="214" y="18"/>
                  </a:cubicBezTo>
                  <a:cubicBezTo>
                    <a:pt x="210" y="28"/>
                    <a:pt x="205" y="39"/>
                    <a:pt x="192" y="39"/>
                  </a:cubicBezTo>
                  <a:cubicBezTo>
                    <a:pt x="191" y="39"/>
                    <a:pt x="190" y="38"/>
                    <a:pt x="189" y="38"/>
                  </a:cubicBezTo>
                  <a:cubicBezTo>
                    <a:pt x="188" y="42"/>
                    <a:pt x="182" y="54"/>
                    <a:pt x="182" y="57"/>
                  </a:cubicBezTo>
                  <a:cubicBezTo>
                    <a:pt x="182" y="63"/>
                    <a:pt x="173" y="68"/>
                    <a:pt x="168" y="70"/>
                  </a:cubicBezTo>
                  <a:cubicBezTo>
                    <a:pt x="167" y="74"/>
                    <a:pt x="162" y="87"/>
                    <a:pt x="156" y="87"/>
                  </a:cubicBezTo>
                  <a:cubicBezTo>
                    <a:pt x="154" y="87"/>
                    <a:pt x="153" y="87"/>
                    <a:pt x="151" y="86"/>
                  </a:cubicBezTo>
                  <a:cubicBezTo>
                    <a:pt x="149" y="84"/>
                    <a:pt x="146" y="81"/>
                    <a:pt x="144" y="81"/>
                  </a:cubicBezTo>
                  <a:cubicBezTo>
                    <a:pt x="144" y="81"/>
                    <a:pt x="144" y="81"/>
                    <a:pt x="144" y="81"/>
                  </a:cubicBezTo>
                  <a:cubicBezTo>
                    <a:pt x="138" y="84"/>
                    <a:pt x="132" y="102"/>
                    <a:pt x="125" y="102"/>
                  </a:cubicBezTo>
                  <a:cubicBezTo>
                    <a:pt x="123" y="102"/>
                    <a:pt x="122" y="101"/>
                    <a:pt x="120" y="99"/>
                  </a:cubicBezTo>
                  <a:cubicBezTo>
                    <a:pt x="119" y="99"/>
                    <a:pt x="119" y="99"/>
                    <a:pt x="119" y="99"/>
                  </a:cubicBezTo>
                  <a:cubicBezTo>
                    <a:pt x="118" y="97"/>
                    <a:pt x="115" y="96"/>
                    <a:pt x="113" y="96"/>
                  </a:cubicBezTo>
                  <a:cubicBezTo>
                    <a:pt x="111" y="96"/>
                    <a:pt x="108" y="97"/>
                    <a:pt x="106" y="100"/>
                  </a:cubicBezTo>
                  <a:cubicBezTo>
                    <a:pt x="106" y="100"/>
                    <a:pt x="105" y="101"/>
                    <a:pt x="105" y="102"/>
                  </a:cubicBezTo>
                  <a:cubicBezTo>
                    <a:pt x="104" y="104"/>
                    <a:pt x="103" y="104"/>
                    <a:pt x="102" y="104"/>
                  </a:cubicBezTo>
                  <a:cubicBezTo>
                    <a:pt x="101" y="104"/>
                    <a:pt x="100" y="104"/>
                    <a:pt x="99" y="103"/>
                  </a:cubicBezTo>
                  <a:cubicBezTo>
                    <a:pt x="97" y="103"/>
                    <a:pt x="94" y="103"/>
                    <a:pt x="89" y="103"/>
                  </a:cubicBezTo>
                  <a:cubicBezTo>
                    <a:pt x="81" y="103"/>
                    <a:pt x="75" y="107"/>
                    <a:pt x="67" y="107"/>
                  </a:cubicBezTo>
                  <a:cubicBezTo>
                    <a:pt x="63" y="107"/>
                    <a:pt x="61" y="107"/>
                    <a:pt x="59" y="109"/>
                  </a:cubicBezTo>
                  <a:cubicBezTo>
                    <a:pt x="59" y="110"/>
                    <a:pt x="58" y="110"/>
                    <a:pt x="57" y="111"/>
                  </a:cubicBezTo>
                  <a:cubicBezTo>
                    <a:pt x="57" y="112"/>
                    <a:pt x="56" y="113"/>
                    <a:pt x="56" y="115"/>
                  </a:cubicBezTo>
                  <a:cubicBezTo>
                    <a:pt x="56" y="122"/>
                    <a:pt x="52" y="130"/>
                    <a:pt x="48" y="136"/>
                  </a:cubicBezTo>
                  <a:cubicBezTo>
                    <a:pt x="37" y="145"/>
                    <a:pt x="37" y="145"/>
                    <a:pt x="37" y="145"/>
                  </a:cubicBezTo>
                  <a:cubicBezTo>
                    <a:pt x="37" y="145"/>
                    <a:pt x="37" y="149"/>
                    <a:pt x="38" y="153"/>
                  </a:cubicBezTo>
                  <a:cubicBezTo>
                    <a:pt x="38" y="159"/>
                    <a:pt x="37" y="165"/>
                    <a:pt x="34" y="165"/>
                  </a:cubicBezTo>
                  <a:cubicBezTo>
                    <a:pt x="33" y="165"/>
                    <a:pt x="32" y="165"/>
                    <a:pt x="31" y="164"/>
                  </a:cubicBezTo>
                  <a:cubicBezTo>
                    <a:pt x="28" y="163"/>
                    <a:pt x="17" y="158"/>
                    <a:pt x="14" y="157"/>
                  </a:cubicBezTo>
                  <a:cubicBezTo>
                    <a:pt x="14" y="157"/>
                    <a:pt x="14" y="157"/>
                    <a:pt x="14" y="157"/>
                  </a:cubicBezTo>
                  <a:cubicBezTo>
                    <a:pt x="9" y="157"/>
                    <a:pt x="5" y="159"/>
                    <a:pt x="4" y="163"/>
                  </a:cubicBezTo>
                  <a:cubicBezTo>
                    <a:pt x="4" y="164"/>
                    <a:pt x="4" y="165"/>
                    <a:pt x="4" y="166"/>
                  </a:cubicBezTo>
                  <a:cubicBezTo>
                    <a:pt x="6" y="171"/>
                    <a:pt x="7" y="175"/>
                    <a:pt x="7" y="178"/>
                  </a:cubicBezTo>
                  <a:cubicBezTo>
                    <a:pt x="7" y="183"/>
                    <a:pt x="5" y="188"/>
                    <a:pt x="2" y="196"/>
                  </a:cubicBezTo>
                  <a:cubicBezTo>
                    <a:pt x="1" y="198"/>
                    <a:pt x="1" y="198"/>
                    <a:pt x="1" y="198"/>
                  </a:cubicBezTo>
                  <a:cubicBezTo>
                    <a:pt x="1" y="199"/>
                    <a:pt x="0" y="200"/>
                    <a:pt x="0" y="200"/>
                  </a:cubicBezTo>
                  <a:cubicBezTo>
                    <a:pt x="59" y="197"/>
                    <a:pt x="59" y="197"/>
                    <a:pt x="59" y="197"/>
                  </a:cubicBezTo>
                  <a:cubicBezTo>
                    <a:pt x="59" y="186"/>
                    <a:pt x="59" y="186"/>
                    <a:pt x="59" y="186"/>
                  </a:cubicBezTo>
                  <a:cubicBezTo>
                    <a:pt x="59" y="184"/>
                    <a:pt x="61" y="183"/>
                    <a:pt x="62" y="183"/>
                  </a:cubicBezTo>
                  <a:cubicBezTo>
                    <a:pt x="234" y="170"/>
                    <a:pt x="234" y="170"/>
                    <a:pt x="234" y="170"/>
                  </a:cubicBezTo>
                  <a:cubicBezTo>
                    <a:pt x="300" y="160"/>
                    <a:pt x="300" y="160"/>
                    <a:pt x="300" y="160"/>
                  </a:cubicBezTo>
                  <a:cubicBezTo>
                    <a:pt x="337" y="126"/>
                    <a:pt x="337" y="126"/>
                    <a:pt x="337" y="126"/>
                  </a:cubicBezTo>
                  <a:cubicBezTo>
                    <a:pt x="368" y="93"/>
                    <a:pt x="368" y="93"/>
                    <a:pt x="368" y="93"/>
                  </a:cubicBezTo>
                  <a:cubicBezTo>
                    <a:pt x="362" y="89"/>
                    <a:pt x="356" y="83"/>
                    <a:pt x="349" y="79"/>
                  </a:cubicBezTo>
                  <a:cubicBezTo>
                    <a:pt x="342" y="73"/>
                    <a:pt x="333" y="48"/>
                    <a:pt x="333" y="37"/>
                  </a:cubicBezTo>
                  <a:cubicBezTo>
                    <a:pt x="333" y="28"/>
                    <a:pt x="324" y="24"/>
                    <a:pt x="318" y="19"/>
                  </a:cubicBezTo>
                  <a:cubicBezTo>
                    <a:pt x="317" y="19"/>
                    <a:pt x="317" y="19"/>
                    <a:pt x="317" y="19"/>
                  </a:cubicBezTo>
                  <a:cubicBezTo>
                    <a:pt x="315" y="18"/>
                    <a:pt x="315" y="18"/>
                    <a:pt x="315" y="18"/>
                  </a:cubicBezTo>
                  <a:cubicBezTo>
                    <a:pt x="313" y="18"/>
                    <a:pt x="311" y="20"/>
                    <a:pt x="308" y="21"/>
                  </a:cubicBezTo>
                  <a:cubicBezTo>
                    <a:pt x="307" y="23"/>
                    <a:pt x="306" y="24"/>
                    <a:pt x="304" y="25"/>
                  </a:cubicBezTo>
                  <a:cubicBezTo>
                    <a:pt x="304" y="26"/>
                    <a:pt x="303" y="27"/>
                    <a:pt x="302" y="28"/>
                  </a:cubicBezTo>
                  <a:cubicBezTo>
                    <a:pt x="300" y="31"/>
                    <a:pt x="296" y="32"/>
                    <a:pt x="291" y="32"/>
                  </a:cubicBezTo>
                  <a:cubicBezTo>
                    <a:pt x="283" y="32"/>
                    <a:pt x="272" y="28"/>
                    <a:pt x="265" y="27"/>
                  </a:cubicBezTo>
                  <a:cubicBezTo>
                    <a:pt x="263" y="26"/>
                    <a:pt x="263" y="26"/>
                    <a:pt x="263" y="26"/>
                  </a:cubicBezTo>
                  <a:cubicBezTo>
                    <a:pt x="245" y="23"/>
                    <a:pt x="244" y="6"/>
                    <a:pt x="237" y="1"/>
                  </a:cubicBezTo>
                  <a:cubicBezTo>
                    <a:pt x="236" y="1"/>
                    <a:pt x="234" y="0"/>
                    <a:pt x="233" y="0"/>
                  </a:cubicBezTo>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4" name="Freeform 16">
              <a:extLst>
                <a:ext uri="{FF2B5EF4-FFF2-40B4-BE49-F238E27FC236}">
                  <a16:creationId xmlns:a16="http://schemas.microsoft.com/office/drawing/2014/main" id="{317E1B03-8DC3-3900-8EC5-B55BF893DE43}"/>
                </a:ext>
              </a:extLst>
            </p:cNvPr>
            <p:cNvSpPr>
              <a:spLocks/>
            </p:cNvSpPr>
            <p:nvPr/>
          </p:nvSpPr>
          <p:spPr bwMode="auto">
            <a:xfrm>
              <a:off x="6546335" y="3202994"/>
              <a:ext cx="632494" cy="567385"/>
            </a:xfrm>
            <a:custGeom>
              <a:avLst/>
              <a:gdLst>
                <a:gd name="T0" fmla="*/ 75 w 229"/>
                <a:gd name="T1" fmla="*/ 0 h 204"/>
                <a:gd name="T2" fmla="*/ 74 w 229"/>
                <a:gd name="T3" fmla="*/ 45 h 204"/>
                <a:gd name="T4" fmla="*/ 46 w 229"/>
                <a:gd name="T5" fmla="*/ 67 h 204"/>
                <a:gd name="T6" fmla="*/ 35 w 229"/>
                <a:gd name="T7" fmla="*/ 75 h 204"/>
                <a:gd name="T8" fmla="*/ 29 w 229"/>
                <a:gd name="T9" fmla="*/ 98 h 204"/>
                <a:gd name="T10" fmla="*/ 29 w 229"/>
                <a:gd name="T11" fmla="*/ 98 h 204"/>
                <a:gd name="T12" fmla="*/ 25 w 229"/>
                <a:gd name="T13" fmla="*/ 102 h 204"/>
                <a:gd name="T14" fmla="*/ 23 w 229"/>
                <a:gd name="T15" fmla="*/ 101 h 204"/>
                <a:gd name="T16" fmla="*/ 22 w 229"/>
                <a:gd name="T17" fmla="*/ 101 h 204"/>
                <a:gd name="T18" fmla="*/ 20 w 229"/>
                <a:gd name="T19" fmla="*/ 101 h 204"/>
                <a:gd name="T20" fmla="*/ 18 w 229"/>
                <a:gd name="T21" fmla="*/ 101 h 204"/>
                <a:gd name="T22" fmla="*/ 14 w 229"/>
                <a:gd name="T23" fmla="*/ 103 h 204"/>
                <a:gd name="T24" fmla="*/ 12 w 229"/>
                <a:gd name="T25" fmla="*/ 119 h 204"/>
                <a:gd name="T26" fmla="*/ 12 w 229"/>
                <a:gd name="T27" fmla="*/ 126 h 204"/>
                <a:gd name="T28" fmla="*/ 0 w 229"/>
                <a:gd name="T29" fmla="*/ 142 h 204"/>
                <a:gd name="T30" fmla="*/ 0 w 229"/>
                <a:gd name="T31" fmla="*/ 144 h 204"/>
                <a:gd name="T32" fmla="*/ 14 w 229"/>
                <a:gd name="T33" fmla="*/ 181 h 204"/>
                <a:gd name="T34" fmla="*/ 43 w 229"/>
                <a:gd name="T35" fmla="*/ 199 h 204"/>
                <a:gd name="T36" fmla="*/ 50 w 229"/>
                <a:gd name="T37" fmla="*/ 203 h 204"/>
                <a:gd name="T38" fmla="*/ 52 w 229"/>
                <a:gd name="T39" fmla="*/ 204 h 204"/>
                <a:gd name="T40" fmla="*/ 52 w 229"/>
                <a:gd name="T41" fmla="*/ 204 h 204"/>
                <a:gd name="T42" fmla="*/ 52 w 229"/>
                <a:gd name="T43" fmla="*/ 204 h 204"/>
                <a:gd name="T44" fmla="*/ 93 w 229"/>
                <a:gd name="T45" fmla="*/ 194 h 204"/>
                <a:gd name="T46" fmla="*/ 123 w 229"/>
                <a:gd name="T47" fmla="*/ 161 h 204"/>
                <a:gd name="T48" fmla="*/ 140 w 229"/>
                <a:gd name="T49" fmla="*/ 113 h 204"/>
                <a:gd name="T50" fmla="*/ 147 w 229"/>
                <a:gd name="T51" fmla="*/ 104 h 204"/>
                <a:gd name="T52" fmla="*/ 153 w 229"/>
                <a:gd name="T53" fmla="*/ 103 h 204"/>
                <a:gd name="T54" fmla="*/ 157 w 229"/>
                <a:gd name="T55" fmla="*/ 104 h 204"/>
                <a:gd name="T56" fmla="*/ 158 w 229"/>
                <a:gd name="T57" fmla="*/ 104 h 204"/>
                <a:gd name="T58" fmla="*/ 158 w 229"/>
                <a:gd name="T59" fmla="*/ 104 h 204"/>
                <a:gd name="T60" fmla="*/ 171 w 229"/>
                <a:gd name="T61" fmla="*/ 87 h 204"/>
                <a:gd name="T62" fmla="*/ 196 w 229"/>
                <a:gd name="T63" fmla="*/ 51 h 204"/>
                <a:gd name="T64" fmla="*/ 196 w 229"/>
                <a:gd name="T65" fmla="*/ 49 h 204"/>
                <a:gd name="T66" fmla="*/ 198 w 229"/>
                <a:gd name="T67" fmla="*/ 35 h 204"/>
                <a:gd name="T68" fmla="*/ 200 w 229"/>
                <a:gd name="T69" fmla="*/ 35 h 204"/>
                <a:gd name="T70" fmla="*/ 201 w 229"/>
                <a:gd name="T71" fmla="*/ 35 h 204"/>
                <a:gd name="T72" fmla="*/ 204 w 229"/>
                <a:gd name="T73" fmla="*/ 35 h 204"/>
                <a:gd name="T74" fmla="*/ 224 w 229"/>
                <a:gd name="T75" fmla="*/ 43 h 204"/>
                <a:gd name="T76" fmla="*/ 229 w 229"/>
                <a:gd name="T77" fmla="*/ 33 h 204"/>
                <a:gd name="T78" fmla="*/ 223 w 229"/>
                <a:gd name="T79" fmla="*/ 27 h 204"/>
                <a:gd name="T80" fmla="*/ 215 w 229"/>
                <a:gd name="T81" fmla="*/ 24 h 204"/>
                <a:gd name="T82" fmla="*/ 206 w 229"/>
                <a:gd name="T83" fmla="*/ 25 h 204"/>
                <a:gd name="T84" fmla="*/ 190 w 229"/>
                <a:gd name="T85" fmla="*/ 33 h 204"/>
                <a:gd name="T86" fmla="*/ 189 w 229"/>
                <a:gd name="T87" fmla="*/ 34 h 204"/>
                <a:gd name="T88" fmla="*/ 173 w 229"/>
                <a:gd name="T89" fmla="*/ 35 h 204"/>
                <a:gd name="T90" fmla="*/ 146 w 229"/>
                <a:gd name="T91" fmla="*/ 62 h 204"/>
                <a:gd name="T92" fmla="*/ 145 w 229"/>
                <a:gd name="T93" fmla="*/ 62 h 204"/>
                <a:gd name="T94" fmla="*/ 144 w 229"/>
                <a:gd name="T95" fmla="*/ 63 h 204"/>
                <a:gd name="T96" fmla="*/ 142 w 229"/>
                <a:gd name="T97" fmla="*/ 62 h 204"/>
                <a:gd name="T98" fmla="*/ 141 w 229"/>
                <a:gd name="T99" fmla="*/ 60 h 204"/>
                <a:gd name="T100" fmla="*/ 135 w 229"/>
                <a:gd name="T101" fmla="*/ 32 h 204"/>
                <a:gd name="T102" fmla="*/ 86 w 229"/>
                <a:gd name="T103" fmla="*/ 41 h 204"/>
                <a:gd name="T104" fmla="*/ 85 w 229"/>
                <a:gd name="T105" fmla="*/ 41 h 204"/>
                <a:gd name="T106" fmla="*/ 82 w 229"/>
                <a:gd name="T107" fmla="*/ 39 h 204"/>
                <a:gd name="T108" fmla="*/ 82 w 229"/>
                <a:gd name="T109" fmla="*/ 38 h 204"/>
                <a:gd name="T110" fmla="*/ 75 w 229"/>
                <a:gd name="T11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9" h="204">
                  <a:moveTo>
                    <a:pt x="75" y="0"/>
                  </a:moveTo>
                  <a:cubicBezTo>
                    <a:pt x="75" y="25"/>
                    <a:pt x="74" y="45"/>
                    <a:pt x="74" y="45"/>
                  </a:cubicBezTo>
                  <a:cubicBezTo>
                    <a:pt x="74" y="48"/>
                    <a:pt x="50" y="66"/>
                    <a:pt x="46" y="67"/>
                  </a:cubicBezTo>
                  <a:cubicBezTo>
                    <a:pt x="41" y="69"/>
                    <a:pt x="37" y="71"/>
                    <a:pt x="35" y="75"/>
                  </a:cubicBezTo>
                  <a:cubicBezTo>
                    <a:pt x="31" y="83"/>
                    <a:pt x="29" y="96"/>
                    <a:pt x="29" y="98"/>
                  </a:cubicBezTo>
                  <a:cubicBezTo>
                    <a:pt x="29" y="98"/>
                    <a:pt x="29" y="98"/>
                    <a:pt x="29" y="98"/>
                  </a:cubicBezTo>
                  <a:cubicBezTo>
                    <a:pt x="29" y="101"/>
                    <a:pt x="27" y="102"/>
                    <a:pt x="25" y="102"/>
                  </a:cubicBezTo>
                  <a:cubicBezTo>
                    <a:pt x="24" y="102"/>
                    <a:pt x="23" y="102"/>
                    <a:pt x="23" y="101"/>
                  </a:cubicBezTo>
                  <a:cubicBezTo>
                    <a:pt x="22" y="101"/>
                    <a:pt x="22" y="101"/>
                    <a:pt x="22" y="101"/>
                  </a:cubicBezTo>
                  <a:cubicBezTo>
                    <a:pt x="20" y="101"/>
                    <a:pt x="20" y="101"/>
                    <a:pt x="20" y="101"/>
                  </a:cubicBezTo>
                  <a:cubicBezTo>
                    <a:pt x="18" y="101"/>
                    <a:pt x="18" y="101"/>
                    <a:pt x="18" y="101"/>
                  </a:cubicBezTo>
                  <a:cubicBezTo>
                    <a:pt x="16" y="101"/>
                    <a:pt x="15" y="101"/>
                    <a:pt x="14" y="103"/>
                  </a:cubicBezTo>
                  <a:cubicBezTo>
                    <a:pt x="12" y="107"/>
                    <a:pt x="12" y="113"/>
                    <a:pt x="12" y="119"/>
                  </a:cubicBezTo>
                  <a:cubicBezTo>
                    <a:pt x="12" y="122"/>
                    <a:pt x="12" y="124"/>
                    <a:pt x="12" y="126"/>
                  </a:cubicBezTo>
                  <a:cubicBezTo>
                    <a:pt x="12" y="129"/>
                    <a:pt x="2" y="139"/>
                    <a:pt x="0" y="142"/>
                  </a:cubicBezTo>
                  <a:cubicBezTo>
                    <a:pt x="0" y="144"/>
                    <a:pt x="0" y="144"/>
                    <a:pt x="0" y="144"/>
                  </a:cubicBezTo>
                  <a:cubicBezTo>
                    <a:pt x="0" y="154"/>
                    <a:pt x="9" y="177"/>
                    <a:pt x="14" y="181"/>
                  </a:cubicBezTo>
                  <a:cubicBezTo>
                    <a:pt x="23" y="187"/>
                    <a:pt x="31" y="196"/>
                    <a:pt x="43" y="199"/>
                  </a:cubicBezTo>
                  <a:cubicBezTo>
                    <a:pt x="46" y="200"/>
                    <a:pt x="48" y="201"/>
                    <a:pt x="50" y="203"/>
                  </a:cubicBezTo>
                  <a:cubicBezTo>
                    <a:pt x="52" y="204"/>
                    <a:pt x="52" y="204"/>
                    <a:pt x="52" y="204"/>
                  </a:cubicBezTo>
                  <a:cubicBezTo>
                    <a:pt x="52" y="204"/>
                    <a:pt x="52" y="204"/>
                    <a:pt x="52" y="204"/>
                  </a:cubicBezTo>
                  <a:cubicBezTo>
                    <a:pt x="52" y="204"/>
                    <a:pt x="52" y="204"/>
                    <a:pt x="52" y="204"/>
                  </a:cubicBezTo>
                  <a:cubicBezTo>
                    <a:pt x="58" y="204"/>
                    <a:pt x="89" y="196"/>
                    <a:pt x="93" y="194"/>
                  </a:cubicBezTo>
                  <a:cubicBezTo>
                    <a:pt x="106" y="190"/>
                    <a:pt x="122" y="175"/>
                    <a:pt x="123" y="161"/>
                  </a:cubicBezTo>
                  <a:cubicBezTo>
                    <a:pt x="125" y="147"/>
                    <a:pt x="137" y="128"/>
                    <a:pt x="140" y="113"/>
                  </a:cubicBezTo>
                  <a:cubicBezTo>
                    <a:pt x="141" y="108"/>
                    <a:pt x="144" y="106"/>
                    <a:pt x="147" y="104"/>
                  </a:cubicBezTo>
                  <a:cubicBezTo>
                    <a:pt x="149" y="103"/>
                    <a:pt x="151" y="103"/>
                    <a:pt x="153" y="103"/>
                  </a:cubicBezTo>
                  <a:cubicBezTo>
                    <a:pt x="154" y="103"/>
                    <a:pt x="156" y="103"/>
                    <a:pt x="157" y="104"/>
                  </a:cubicBezTo>
                  <a:cubicBezTo>
                    <a:pt x="158" y="104"/>
                    <a:pt x="158" y="104"/>
                    <a:pt x="158" y="104"/>
                  </a:cubicBezTo>
                  <a:cubicBezTo>
                    <a:pt x="158" y="104"/>
                    <a:pt x="158" y="104"/>
                    <a:pt x="158" y="104"/>
                  </a:cubicBezTo>
                  <a:cubicBezTo>
                    <a:pt x="161" y="104"/>
                    <a:pt x="169" y="97"/>
                    <a:pt x="171" y="87"/>
                  </a:cubicBezTo>
                  <a:cubicBezTo>
                    <a:pt x="173" y="74"/>
                    <a:pt x="196" y="64"/>
                    <a:pt x="196" y="51"/>
                  </a:cubicBezTo>
                  <a:cubicBezTo>
                    <a:pt x="196" y="50"/>
                    <a:pt x="196" y="50"/>
                    <a:pt x="196" y="49"/>
                  </a:cubicBezTo>
                  <a:cubicBezTo>
                    <a:pt x="194" y="42"/>
                    <a:pt x="191" y="36"/>
                    <a:pt x="198" y="35"/>
                  </a:cubicBezTo>
                  <a:cubicBezTo>
                    <a:pt x="200" y="35"/>
                    <a:pt x="200" y="35"/>
                    <a:pt x="200" y="35"/>
                  </a:cubicBezTo>
                  <a:cubicBezTo>
                    <a:pt x="201" y="35"/>
                    <a:pt x="201" y="35"/>
                    <a:pt x="201" y="35"/>
                  </a:cubicBezTo>
                  <a:cubicBezTo>
                    <a:pt x="202" y="35"/>
                    <a:pt x="203" y="35"/>
                    <a:pt x="204" y="35"/>
                  </a:cubicBezTo>
                  <a:cubicBezTo>
                    <a:pt x="211" y="36"/>
                    <a:pt x="218" y="38"/>
                    <a:pt x="224" y="43"/>
                  </a:cubicBezTo>
                  <a:cubicBezTo>
                    <a:pt x="226" y="38"/>
                    <a:pt x="228" y="35"/>
                    <a:pt x="229" y="33"/>
                  </a:cubicBezTo>
                  <a:cubicBezTo>
                    <a:pt x="227" y="30"/>
                    <a:pt x="225" y="28"/>
                    <a:pt x="223" y="27"/>
                  </a:cubicBezTo>
                  <a:cubicBezTo>
                    <a:pt x="221" y="25"/>
                    <a:pt x="218" y="24"/>
                    <a:pt x="215" y="24"/>
                  </a:cubicBezTo>
                  <a:cubicBezTo>
                    <a:pt x="212" y="24"/>
                    <a:pt x="209" y="25"/>
                    <a:pt x="206" y="25"/>
                  </a:cubicBezTo>
                  <a:cubicBezTo>
                    <a:pt x="190" y="33"/>
                    <a:pt x="190" y="33"/>
                    <a:pt x="190" y="33"/>
                  </a:cubicBezTo>
                  <a:cubicBezTo>
                    <a:pt x="189" y="34"/>
                    <a:pt x="189" y="34"/>
                    <a:pt x="189" y="34"/>
                  </a:cubicBezTo>
                  <a:cubicBezTo>
                    <a:pt x="173" y="35"/>
                    <a:pt x="173" y="35"/>
                    <a:pt x="173" y="35"/>
                  </a:cubicBezTo>
                  <a:cubicBezTo>
                    <a:pt x="146" y="62"/>
                    <a:pt x="146" y="62"/>
                    <a:pt x="146" y="62"/>
                  </a:cubicBezTo>
                  <a:cubicBezTo>
                    <a:pt x="145" y="62"/>
                    <a:pt x="145" y="62"/>
                    <a:pt x="145" y="62"/>
                  </a:cubicBezTo>
                  <a:cubicBezTo>
                    <a:pt x="144" y="63"/>
                    <a:pt x="144" y="63"/>
                    <a:pt x="144" y="63"/>
                  </a:cubicBezTo>
                  <a:cubicBezTo>
                    <a:pt x="142" y="62"/>
                    <a:pt x="142" y="62"/>
                    <a:pt x="142" y="62"/>
                  </a:cubicBezTo>
                  <a:cubicBezTo>
                    <a:pt x="141" y="60"/>
                    <a:pt x="141" y="60"/>
                    <a:pt x="141" y="60"/>
                  </a:cubicBezTo>
                  <a:cubicBezTo>
                    <a:pt x="135" y="32"/>
                    <a:pt x="135" y="32"/>
                    <a:pt x="135" y="32"/>
                  </a:cubicBezTo>
                  <a:cubicBezTo>
                    <a:pt x="108" y="37"/>
                    <a:pt x="86" y="41"/>
                    <a:pt x="86" y="41"/>
                  </a:cubicBezTo>
                  <a:cubicBezTo>
                    <a:pt x="85" y="41"/>
                    <a:pt x="85" y="41"/>
                    <a:pt x="85" y="41"/>
                  </a:cubicBezTo>
                  <a:cubicBezTo>
                    <a:pt x="84" y="41"/>
                    <a:pt x="83" y="40"/>
                    <a:pt x="82" y="39"/>
                  </a:cubicBezTo>
                  <a:cubicBezTo>
                    <a:pt x="82" y="38"/>
                    <a:pt x="82" y="38"/>
                    <a:pt x="82" y="38"/>
                  </a:cubicBezTo>
                  <a:lnTo>
                    <a:pt x="75" y="0"/>
                  </a:lnTo>
                  <a:close/>
                </a:path>
              </a:pathLst>
            </a:custGeom>
            <a:solidFill>
              <a:srgbClr val="BB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5" name="Freeform 18">
              <a:extLst>
                <a:ext uri="{FF2B5EF4-FFF2-40B4-BE49-F238E27FC236}">
                  <a16:creationId xmlns:a16="http://schemas.microsoft.com/office/drawing/2014/main" id="{11AA0673-1F92-F712-5BC4-CE3DF6DC381C}"/>
                </a:ext>
              </a:extLst>
            </p:cNvPr>
            <p:cNvSpPr>
              <a:spLocks/>
            </p:cNvSpPr>
            <p:nvPr/>
          </p:nvSpPr>
          <p:spPr bwMode="auto">
            <a:xfrm>
              <a:off x="4506232" y="2787532"/>
              <a:ext cx="880531" cy="558083"/>
            </a:xfrm>
            <a:custGeom>
              <a:avLst/>
              <a:gdLst>
                <a:gd name="T0" fmla="*/ 257 w 318"/>
                <a:gd name="T1" fmla="*/ 0 h 201"/>
                <a:gd name="T2" fmla="*/ 7 w 318"/>
                <a:gd name="T3" fmla="*/ 9 h 201"/>
                <a:gd name="T4" fmla="*/ 5 w 318"/>
                <a:gd name="T5" fmla="*/ 16 h 201"/>
                <a:gd name="T6" fmla="*/ 0 w 318"/>
                <a:gd name="T7" fmla="*/ 57 h 201"/>
                <a:gd name="T8" fmla="*/ 9 w 318"/>
                <a:gd name="T9" fmla="*/ 73 h 201"/>
                <a:gd name="T10" fmla="*/ 29 w 318"/>
                <a:gd name="T11" fmla="*/ 130 h 201"/>
                <a:gd name="T12" fmla="*/ 40 w 318"/>
                <a:gd name="T13" fmla="*/ 155 h 201"/>
                <a:gd name="T14" fmla="*/ 42 w 318"/>
                <a:gd name="T15" fmla="*/ 197 h 201"/>
                <a:gd name="T16" fmla="*/ 43 w 318"/>
                <a:gd name="T17" fmla="*/ 199 h 201"/>
                <a:gd name="T18" fmla="*/ 60 w 318"/>
                <a:gd name="T19" fmla="*/ 199 h 201"/>
                <a:gd name="T20" fmla="*/ 125 w 318"/>
                <a:gd name="T21" fmla="*/ 197 h 201"/>
                <a:gd name="T22" fmla="*/ 249 w 318"/>
                <a:gd name="T23" fmla="*/ 189 h 201"/>
                <a:gd name="T24" fmla="*/ 251 w 318"/>
                <a:gd name="T25" fmla="*/ 190 h 201"/>
                <a:gd name="T26" fmla="*/ 261 w 318"/>
                <a:gd name="T27" fmla="*/ 201 h 201"/>
                <a:gd name="T28" fmla="*/ 265 w 318"/>
                <a:gd name="T29" fmla="*/ 194 h 201"/>
                <a:gd name="T30" fmla="*/ 283 w 318"/>
                <a:gd name="T31" fmla="*/ 168 h 201"/>
                <a:gd name="T32" fmla="*/ 275 w 318"/>
                <a:gd name="T33" fmla="*/ 152 h 201"/>
                <a:gd name="T34" fmla="*/ 275 w 318"/>
                <a:gd name="T35" fmla="*/ 152 h 201"/>
                <a:gd name="T36" fmla="*/ 275 w 318"/>
                <a:gd name="T37" fmla="*/ 141 h 201"/>
                <a:gd name="T38" fmla="*/ 275 w 318"/>
                <a:gd name="T39" fmla="*/ 141 h 201"/>
                <a:gd name="T40" fmla="*/ 275 w 318"/>
                <a:gd name="T41" fmla="*/ 141 h 201"/>
                <a:gd name="T42" fmla="*/ 280 w 318"/>
                <a:gd name="T43" fmla="*/ 132 h 201"/>
                <a:gd name="T44" fmla="*/ 280 w 318"/>
                <a:gd name="T45" fmla="*/ 132 h 201"/>
                <a:gd name="T46" fmla="*/ 289 w 318"/>
                <a:gd name="T47" fmla="*/ 132 h 201"/>
                <a:gd name="T48" fmla="*/ 298 w 318"/>
                <a:gd name="T49" fmla="*/ 128 h 201"/>
                <a:gd name="T50" fmla="*/ 308 w 318"/>
                <a:gd name="T51" fmla="*/ 123 h 201"/>
                <a:gd name="T52" fmla="*/ 311 w 318"/>
                <a:gd name="T53" fmla="*/ 112 h 201"/>
                <a:gd name="T54" fmla="*/ 318 w 318"/>
                <a:gd name="T55" fmla="*/ 90 h 201"/>
                <a:gd name="T56" fmla="*/ 290 w 318"/>
                <a:gd name="T57" fmla="*/ 56 h 201"/>
                <a:gd name="T58" fmla="*/ 277 w 318"/>
                <a:gd name="T59" fmla="*/ 56 h 201"/>
                <a:gd name="T60" fmla="*/ 275 w 318"/>
                <a:gd name="T61" fmla="*/ 54 h 201"/>
                <a:gd name="T62" fmla="*/ 266 w 318"/>
                <a:gd name="T63" fmla="*/ 36 h 201"/>
                <a:gd name="T64" fmla="*/ 265 w 318"/>
                <a:gd name="T65" fmla="*/ 36 h 201"/>
                <a:gd name="T66" fmla="*/ 257 w 318"/>
                <a:gd name="T67" fmla="*/ 3 h 201"/>
                <a:gd name="T68" fmla="*/ 257 w 318"/>
                <a:gd name="T6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8" h="201">
                  <a:moveTo>
                    <a:pt x="257" y="0"/>
                  </a:moveTo>
                  <a:cubicBezTo>
                    <a:pt x="7" y="9"/>
                    <a:pt x="7" y="9"/>
                    <a:pt x="7" y="9"/>
                  </a:cubicBezTo>
                  <a:cubicBezTo>
                    <a:pt x="6" y="10"/>
                    <a:pt x="5" y="12"/>
                    <a:pt x="5" y="16"/>
                  </a:cubicBezTo>
                  <a:cubicBezTo>
                    <a:pt x="5" y="29"/>
                    <a:pt x="2" y="43"/>
                    <a:pt x="0" y="57"/>
                  </a:cubicBezTo>
                  <a:cubicBezTo>
                    <a:pt x="9" y="73"/>
                    <a:pt x="9" y="73"/>
                    <a:pt x="9" y="73"/>
                  </a:cubicBezTo>
                  <a:cubicBezTo>
                    <a:pt x="10" y="74"/>
                    <a:pt x="27" y="124"/>
                    <a:pt x="29" y="130"/>
                  </a:cubicBezTo>
                  <a:cubicBezTo>
                    <a:pt x="32" y="138"/>
                    <a:pt x="40" y="145"/>
                    <a:pt x="40" y="155"/>
                  </a:cubicBezTo>
                  <a:cubicBezTo>
                    <a:pt x="40" y="162"/>
                    <a:pt x="42" y="191"/>
                    <a:pt x="42" y="197"/>
                  </a:cubicBezTo>
                  <a:cubicBezTo>
                    <a:pt x="43" y="199"/>
                    <a:pt x="43" y="199"/>
                    <a:pt x="43" y="199"/>
                  </a:cubicBezTo>
                  <a:cubicBezTo>
                    <a:pt x="46" y="199"/>
                    <a:pt x="52" y="199"/>
                    <a:pt x="60" y="199"/>
                  </a:cubicBezTo>
                  <a:cubicBezTo>
                    <a:pt x="74" y="199"/>
                    <a:pt x="97" y="199"/>
                    <a:pt x="125" y="197"/>
                  </a:cubicBezTo>
                  <a:cubicBezTo>
                    <a:pt x="179" y="194"/>
                    <a:pt x="249" y="189"/>
                    <a:pt x="249" y="189"/>
                  </a:cubicBezTo>
                  <a:cubicBezTo>
                    <a:pt x="251" y="190"/>
                    <a:pt x="251" y="190"/>
                    <a:pt x="251" y="190"/>
                  </a:cubicBezTo>
                  <a:cubicBezTo>
                    <a:pt x="261" y="201"/>
                    <a:pt x="261" y="201"/>
                    <a:pt x="261" y="201"/>
                  </a:cubicBezTo>
                  <a:cubicBezTo>
                    <a:pt x="262" y="198"/>
                    <a:pt x="264" y="196"/>
                    <a:pt x="265" y="194"/>
                  </a:cubicBezTo>
                  <a:cubicBezTo>
                    <a:pt x="268" y="191"/>
                    <a:pt x="280" y="173"/>
                    <a:pt x="283" y="168"/>
                  </a:cubicBezTo>
                  <a:cubicBezTo>
                    <a:pt x="275" y="152"/>
                    <a:pt x="275" y="152"/>
                    <a:pt x="275" y="152"/>
                  </a:cubicBezTo>
                  <a:cubicBezTo>
                    <a:pt x="275" y="152"/>
                    <a:pt x="275" y="152"/>
                    <a:pt x="275" y="152"/>
                  </a:cubicBezTo>
                  <a:cubicBezTo>
                    <a:pt x="275" y="150"/>
                    <a:pt x="274" y="146"/>
                    <a:pt x="275" y="141"/>
                  </a:cubicBezTo>
                  <a:cubicBezTo>
                    <a:pt x="275" y="141"/>
                    <a:pt x="275" y="141"/>
                    <a:pt x="275" y="141"/>
                  </a:cubicBezTo>
                  <a:cubicBezTo>
                    <a:pt x="275" y="141"/>
                    <a:pt x="275" y="141"/>
                    <a:pt x="275" y="141"/>
                  </a:cubicBezTo>
                  <a:cubicBezTo>
                    <a:pt x="275" y="137"/>
                    <a:pt x="277" y="132"/>
                    <a:pt x="280" y="132"/>
                  </a:cubicBezTo>
                  <a:cubicBezTo>
                    <a:pt x="280" y="132"/>
                    <a:pt x="280" y="132"/>
                    <a:pt x="280" y="132"/>
                  </a:cubicBezTo>
                  <a:cubicBezTo>
                    <a:pt x="289" y="132"/>
                    <a:pt x="289" y="132"/>
                    <a:pt x="289" y="132"/>
                  </a:cubicBezTo>
                  <a:cubicBezTo>
                    <a:pt x="298" y="128"/>
                    <a:pt x="298" y="128"/>
                    <a:pt x="298" y="128"/>
                  </a:cubicBezTo>
                  <a:cubicBezTo>
                    <a:pt x="302" y="126"/>
                    <a:pt x="306" y="123"/>
                    <a:pt x="308" y="123"/>
                  </a:cubicBezTo>
                  <a:cubicBezTo>
                    <a:pt x="310" y="119"/>
                    <a:pt x="310" y="116"/>
                    <a:pt x="311" y="112"/>
                  </a:cubicBezTo>
                  <a:cubicBezTo>
                    <a:pt x="314" y="105"/>
                    <a:pt x="316" y="97"/>
                    <a:pt x="318" y="90"/>
                  </a:cubicBezTo>
                  <a:cubicBezTo>
                    <a:pt x="290" y="56"/>
                    <a:pt x="290" y="56"/>
                    <a:pt x="290" y="56"/>
                  </a:cubicBezTo>
                  <a:cubicBezTo>
                    <a:pt x="277" y="56"/>
                    <a:pt x="277" y="56"/>
                    <a:pt x="277" y="56"/>
                  </a:cubicBezTo>
                  <a:cubicBezTo>
                    <a:pt x="275" y="54"/>
                    <a:pt x="275" y="54"/>
                    <a:pt x="275" y="54"/>
                  </a:cubicBezTo>
                  <a:cubicBezTo>
                    <a:pt x="266" y="36"/>
                    <a:pt x="266" y="36"/>
                    <a:pt x="266" y="36"/>
                  </a:cubicBezTo>
                  <a:cubicBezTo>
                    <a:pt x="265" y="36"/>
                    <a:pt x="265" y="36"/>
                    <a:pt x="265" y="36"/>
                  </a:cubicBezTo>
                  <a:cubicBezTo>
                    <a:pt x="257" y="3"/>
                    <a:pt x="257" y="3"/>
                    <a:pt x="257" y="3"/>
                  </a:cubicBezTo>
                  <a:lnTo>
                    <a:pt x="257"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6" name="Freeform 19">
              <a:extLst>
                <a:ext uri="{FF2B5EF4-FFF2-40B4-BE49-F238E27FC236}">
                  <a16:creationId xmlns:a16="http://schemas.microsoft.com/office/drawing/2014/main" id="{DF19CBC3-FBDD-D0E4-4CFE-C51A7C86E04A}"/>
                </a:ext>
              </a:extLst>
            </p:cNvPr>
            <p:cNvSpPr>
              <a:spLocks/>
            </p:cNvSpPr>
            <p:nvPr/>
          </p:nvSpPr>
          <p:spPr bwMode="auto">
            <a:xfrm>
              <a:off x="4639552" y="3328563"/>
              <a:ext cx="968894" cy="838675"/>
            </a:xfrm>
            <a:custGeom>
              <a:avLst/>
              <a:gdLst>
                <a:gd name="T0" fmla="*/ 199 w 350"/>
                <a:gd name="T1" fmla="*/ 0 h 302"/>
                <a:gd name="T2" fmla="*/ 78 w 350"/>
                <a:gd name="T3" fmla="*/ 8 h 302"/>
                <a:gd name="T4" fmla="*/ 76 w 350"/>
                <a:gd name="T5" fmla="*/ 8 h 302"/>
                <a:gd name="T6" fmla="*/ 12 w 350"/>
                <a:gd name="T7" fmla="*/ 11 h 302"/>
                <a:gd name="T8" fmla="*/ 0 w 350"/>
                <a:gd name="T9" fmla="*/ 10 h 302"/>
                <a:gd name="T10" fmla="*/ 15 w 350"/>
                <a:gd name="T11" fmla="*/ 38 h 302"/>
                <a:gd name="T12" fmla="*/ 35 w 350"/>
                <a:gd name="T13" fmla="*/ 53 h 302"/>
                <a:gd name="T14" fmla="*/ 40 w 350"/>
                <a:gd name="T15" fmla="*/ 57 h 302"/>
                <a:gd name="T16" fmla="*/ 34 w 350"/>
                <a:gd name="T17" fmla="*/ 70 h 302"/>
                <a:gd name="T18" fmla="*/ 32 w 350"/>
                <a:gd name="T19" fmla="*/ 76 h 302"/>
                <a:gd name="T20" fmla="*/ 59 w 350"/>
                <a:gd name="T21" fmla="*/ 107 h 302"/>
                <a:gd name="T22" fmla="*/ 57 w 350"/>
                <a:gd name="T23" fmla="*/ 246 h 302"/>
                <a:gd name="T24" fmla="*/ 62 w 350"/>
                <a:gd name="T25" fmla="*/ 281 h 302"/>
                <a:gd name="T26" fmla="*/ 184 w 350"/>
                <a:gd name="T27" fmla="*/ 276 h 302"/>
                <a:gd name="T28" fmla="*/ 293 w 350"/>
                <a:gd name="T29" fmla="*/ 269 h 302"/>
                <a:gd name="T30" fmla="*/ 294 w 350"/>
                <a:gd name="T31" fmla="*/ 269 h 302"/>
                <a:gd name="T32" fmla="*/ 297 w 350"/>
                <a:gd name="T33" fmla="*/ 270 h 302"/>
                <a:gd name="T34" fmla="*/ 310 w 350"/>
                <a:gd name="T35" fmla="*/ 281 h 302"/>
                <a:gd name="T36" fmla="*/ 307 w 350"/>
                <a:gd name="T37" fmla="*/ 287 h 302"/>
                <a:gd name="T38" fmla="*/ 295 w 350"/>
                <a:gd name="T39" fmla="*/ 300 h 302"/>
                <a:gd name="T40" fmla="*/ 296 w 350"/>
                <a:gd name="T41" fmla="*/ 300 h 302"/>
                <a:gd name="T42" fmla="*/ 310 w 350"/>
                <a:gd name="T43" fmla="*/ 302 h 302"/>
                <a:gd name="T44" fmla="*/ 322 w 350"/>
                <a:gd name="T45" fmla="*/ 301 h 302"/>
                <a:gd name="T46" fmla="*/ 339 w 350"/>
                <a:gd name="T47" fmla="*/ 263 h 302"/>
                <a:gd name="T48" fmla="*/ 345 w 350"/>
                <a:gd name="T49" fmla="*/ 259 h 302"/>
                <a:gd name="T50" fmla="*/ 345 w 350"/>
                <a:gd name="T51" fmla="*/ 258 h 302"/>
                <a:gd name="T52" fmla="*/ 346 w 350"/>
                <a:gd name="T53" fmla="*/ 256 h 302"/>
                <a:gd name="T54" fmla="*/ 350 w 350"/>
                <a:gd name="T55" fmla="*/ 240 h 302"/>
                <a:gd name="T56" fmla="*/ 349 w 350"/>
                <a:gd name="T57" fmla="*/ 232 h 302"/>
                <a:gd name="T58" fmla="*/ 327 w 350"/>
                <a:gd name="T59" fmla="*/ 199 h 302"/>
                <a:gd name="T60" fmla="*/ 312 w 350"/>
                <a:gd name="T61" fmla="*/ 187 h 302"/>
                <a:gd name="T62" fmla="*/ 276 w 350"/>
                <a:gd name="T63" fmla="*/ 159 h 302"/>
                <a:gd name="T64" fmla="*/ 275 w 350"/>
                <a:gd name="T65" fmla="*/ 157 h 302"/>
                <a:gd name="T66" fmla="*/ 275 w 350"/>
                <a:gd name="T67" fmla="*/ 157 h 302"/>
                <a:gd name="T68" fmla="*/ 280 w 350"/>
                <a:gd name="T69" fmla="*/ 114 h 302"/>
                <a:gd name="T70" fmla="*/ 249 w 350"/>
                <a:gd name="T71" fmla="*/ 85 h 302"/>
                <a:gd name="T72" fmla="*/ 216 w 350"/>
                <a:gd name="T73" fmla="*/ 56 h 302"/>
                <a:gd name="T74" fmla="*/ 209 w 350"/>
                <a:gd name="T75" fmla="*/ 19 h 302"/>
                <a:gd name="T76" fmla="*/ 209 w 350"/>
                <a:gd name="T77" fmla="*/ 17 h 302"/>
                <a:gd name="T78" fmla="*/ 210 w 350"/>
                <a:gd name="T79" fmla="*/ 12 h 302"/>
                <a:gd name="T80" fmla="*/ 199 w 350"/>
                <a:gd name="T81"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0" h="302">
                  <a:moveTo>
                    <a:pt x="199" y="0"/>
                  </a:moveTo>
                  <a:cubicBezTo>
                    <a:pt x="189" y="1"/>
                    <a:pt x="127" y="5"/>
                    <a:pt x="78" y="8"/>
                  </a:cubicBezTo>
                  <a:cubicBezTo>
                    <a:pt x="76" y="8"/>
                    <a:pt x="76" y="8"/>
                    <a:pt x="76" y="8"/>
                  </a:cubicBezTo>
                  <a:cubicBezTo>
                    <a:pt x="47" y="10"/>
                    <a:pt x="26" y="11"/>
                    <a:pt x="12" y="11"/>
                  </a:cubicBezTo>
                  <a:cubicBezTo>
                    <a:pt x="7" y="11"/>
                    <a:pt x="3" y="10"/>
                    <a:pt x="0" y="10"/>
                  </a:cubicBezTo>
                  <a:cubicBezTo>
                    <a:pt x="6" y="20"/>
                    <a:pt x="15" y="34"/>
                    <a:pt x="15" y="38"/>
                  </a:cubicBezTo>
                  <a:cubicBezTo>
                    <a:pt x="15" y="42"/>
                    <a:pt x="28" y="53"/>
                    <a:pt x="35" y="53"/>
                  </a:cubicBezTo>
                  <a:cubicBezTo>
                    <a:pt x="38" y="53"/>
                    <a:pt x="40" y="55"/>
                    <a:pt x="40" y="57"/>
                  </a:cubicBezTo>
                  <a:cubicBezTo>
                    <a:pt x="40" y="61"/>
                    <a:pt x="35" y="68"/>
                    <a:pt x="34" y="70"/>
                  </a:cubicBezTo>
                  <a:cubicBezTo>
                    <a:pt x="33" y="72"/>
                    <a:pt x="32" y="74"/>
                    <a:pt x="32" y="76"/>
                  </a:cubicBezTo>
                  <a:cubicBezTo>
                    <a:pt x="32" y="87"/>
                    <a:pt x="59" y="101"/>
                    <a:pt x="59" y="107"/>
                  </a:cubicBezTo>
                  <a:cubicBezTo>
                    <a:pt x="57" y="246"/>
                    <a:pt x="57" y="246"/>
                    <a:pt x="57" y="246"/>
                  </a:cubicBezTo>
                  <a:cubicBezTo>
                    <a:pt x="62" y="281"/>
                    <a:pt x="62" y="281"/>
                    <a:pt x="62" y="281"/>
                  </a:cubicBezTo>
                  <a:cubicBezTo>
                    <a:pt x="79" y="280"/>
                    <a:pt x="168" y="276"/>
                    <a:pt x="184" y="276"/>
                  </a:cubicBezTo>
                  <a:cubicBezTo>
                    <a:pt x="203" y="276"/>
                    <a:pt x="293" y="269"/>
                    <a:pt x="293" y="269"/>
                  </a:cubicBezTo>
                  <a:cubicBezTo>
                    <a:pt x="294" y="269"/>
                    <a:pt x="294" y="269"/>
                    <a:pt x="294" y="269"/>
                  </a:cubicBezTo>
                  <a:cubicBezTo>
                    <a:pt x="294" y="269"/>
                    <a:pt x="295" y="269"/>
                    <a:pt x="297" y="270"/>
                  </a:cubicBezTo>
                  <a:cubicBezTo>
                    <a:pt x="302" y="272"/>
                    <a:pt x="310" y="276"/>
                    <a:pt x="310" y="281"/>
                  </a:cubicBezTo>
                  <a:cubicBezTo>
                    <a:pt x="310" y="283"/>
                    <a:pt x="309" y="285"/>
                    <a:pt x="307" y="287"/>
                  </a:cubicBezTo>
                  <a:cubicBezTo>
                    <a:pt x="304" y="290"/>
                    <a:pt x="296" y="297"/>
                    <a:pt x="295" y="300"/>
                  </a:cubicBezTo>
                  <a:cubicBezTo>
                    <a:pt x="296" y="300"/>
                    <a:pt x="296" y="300"/>
                    <a:pt x="296" y="300"/>
                  </a:cubicBezTo>
                  <a:cubicBezTo>
                    <a:pt x="299" y="301"/>
                    <a:pt x="305" y="302"/>
                    <a:pt x="310" y="302"/>
                  </a:cubicBezTo>
                  <a:cubicBezTo>
                    <a:pt x="314" y="302"/>
                    <a:pt x="319" y="301"/>
                    <a:pt x="322" y="301"/>
                  </a:cubicBezTo>
                  <a:cubicBezTo>
                    <a:pt x="323" y="283"/>
                    <a:pt x="324" y="274"/>
                    <a:pt x="339" y="263"/>
                  </a:cubicBezTo>
                  <a:cubicBezTo>
                    <a:pt x="341" y="262"/>
                    <a:pt x="343" y="260"/>
                    <a:pt x="345" y="259"/>
                  </a:cubicBezTo>
                  <a:cubicBezTo>
                    <a:pt x="345" y="258"/>
                    <a:pt x="345" y="258"/>
                    <a:pt x="345" y="258"/>
                  </a:cubicBezTo>
                  <a:cubicBezTo>
                    <a:pt x="346" y="256"/>
                    <a:pt x="346" y="256"/>
                    <a:pt x="346" y="256"/>
                  </a:cubicBezTo>
                  <a:cubicBezTo>
                    <a:pt x="349" y="248"/>
                    <a:pt x="350" y="245"/>
                    <a:pt x="350" y="240"/>
                  </a:cubicBezTo>
                  <a:cubicBezTo>
                    <a:pt x="350" y="238"/>
                    <a:pt x="350" y="235"/>
                    <a:pt x="349" y="232"/>
                  </a:cubicBezTo>
                  <a:cubicBezTo>
                    <a:pt x="327" y="227"/>
                    <a:pt x="335" y="231"/>
                    <a:pt x="327" y="199"/>
                  </a:cubicBezTo>
                  <a:cubicBezTo>
                    <a:pt x="312" y="187"/>
                    <a:pt x="312" y="187"/>
                    <a:pt x="312" y="187"/>
                  </a:cubicBezTo>
                  <a:cubicBezTo>
                    <a:pt x="276" y="159"/>
                    <a:pt x="276" y="159"/>
                    <a:pt x="276" y="159"/>
                  </a:cubicBezTo>
                  <a:cubicBezTo>
                    <a:pt x="275" y="157"/>
                    <a:pt x="275" y="157"/>
                    <a:pt x="275" y="157"/>
                  </a:cubicBezTo>
                  <a:cubicBezTo>
                    <a:pt x="275" y="157"/>
                    <a:pt x="275" y="157"/>
                    <a:pt x="275" y="157"/>
                  </a:cubicBezTo>
                  <a:cubicBezTo>
                    <a:pt x="275" y="157"/>
                    <a:pt x="280" y="123"/>
                    <a:pt x="280" y="114"/>
                  </a:cubicBezTo>
                  <a:cubicBezTo>
                    <a:pt x="280" y="107"/>
                    <a:pt x="254" y="87"/>
                    <a:pt x="249" y="85"/>
                  </a:cubicBezTo>
                  <a:cubicBezTo>
                    <a:pt x="245" y="82"/>
                    <a:pt x="221" y="60"/>
                    <a:pt x="216" y="56"/>
                  </a:cubicBezTo>
                  <a:cubicBezTo>
                    <a:pt x="211" y="51"/>
                    <a:pt x="209" y="28"/>
                    <a:pt x="209" y="19"/>
                  </a:cubicBezTo>
                  <a:cubicBezTo>
                    <a:pt x="209" y="19"/>
                    <a:pt x="209" y="18"/>
                    <a:pt x="209" y="17"/>
                  </a:cubicBezTo>
                  <a:cubicBezTo>
                    <a:pt x="209" y="16"/>
                    <a:pt x="210" y="14"/>
                    <a:pt x="210" y="12"/>
                  </a:cubicBezTo>
                  <a:lnTo>
                    <a:pt x="199"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7" name="Freeform 15">
              <a:extLst>
                <a:ext uri="{FF2B5EF4-FFF2-40B4-BE49-F238E27FC236}">
                  <a16:creationId xmlns:a16="http://schemas.microsoft.com/office/drawing/2014/main" id="{12A11A12-1EFD-BABE-1B53-EE5FC06E95A6}"/>
                </a:ext>
              </a:extLst>
            </p:cNvPr>
            <p:cNvSpPr>
              <a:spLocks/>
            </p:cNvSpPr>
            <p:nvPr/>
          </p:nvSpPr>
          <p:spPr bwMode="auto">
            <a:xfrm>
              <a:off x="3504783" y="2331764"/>
              <a:ext cx="1018502" cy="627844"/>
            </a:xfrm>
            <a:custGeom>
              <a:avLst/>
              <a:gdLst>
                <a:gd name="T0" fmla="*/ 13 w 368"/>
                <a:gd name="T1" fmla="*/ 0 h 226"/>
                <a:gd name="T2" fmla="*/ 9 w 368"/>
                <a:gd name="T3" fmla="*/ 58 h 226"/>
                <a:gd name="T4" fmla="*/ 8 w 368"/>
                <a:gd name="T5" fmla="*/ 59 h 226"/>
                <a:gd name="T6" fmla="*/ 0 w 368"/>
                <a:gd name="T7" fmla="*/ 190 h 226"/>
                <a:gd name="T8" fmla="*/ 107 w 368"/>
                <a:gd name="T9" fmla="*/ 195 h 226"/>
                <a:gd name="T10" fmla="*/ 230 w 368"/>
                <a:gd name="T11" fmla="*/ 199 h 226"/>
                <a:gd name="T12" fmla="*/ 247 w 368"/>
                <a:gd name="T13" fmla="*/ 199 h 226"/>
                <a:gd name="T14" fmla="*/ 251 w 368"/>
                <a:gd name="T15" fmla="*/ 199 h 226"/>
                <a:gd name="T16" fmla="*/ 252 w 368"/>
                <a:gd name="T17" fmla="*/ 199 h 226"/>
                <a:gd name="T18" fmla="*/ 257 w 368"/>
                <a:gd name="T19" fmla="*/ 199 h 226"/>
                <a:gd name="T20" fmla="*/ 262 w 368"/>
                <a:gd name="T21" fmla="*/ 199 h 226"/>
                <a:gd name="T22" fmla="*/ 286 w 368"/>
                <a:gd name="T23" fmla="*/ 210 h 226"/>
                <a:gd name="T24" fmla="*/ 295 w 368"/>
                <a:gd name="T25" fmla="*/ 215 h 226"/>
                <a:gd name="T26" fmla="*/ 327 w 368"/>
                <a:gd name="T27" fmla="*/ 208 h 226"/>
                <a:gd name="T28" fmla="*/ 330 w 368"/>
                <a:gd name="T29" fmla="*/ 209 h 226"/>
                <a:gd name="T30" fmla="*/ 358 w 368"/>
                <a:gd name="T31" fmla="*/ 226 h 226"/>
                <a:gd name="T32" fmla="*/ 356 w 368"/>
                <a:gd name="T33" fmla="*/ 223 h 226"/>
                <a:gd name="T34" fmla="*/ 356 w 368"/>
                <a:gd name="T35" fmla="*/ 222 h 226"/>
                <a:gd name="T36" fmla="*/ 361 w 368"/>
                <a:gd name="T37" fmla="*/ 180 h 226"/>
                <a:gd name="T38" fmla="*/ 368 w 368"/>
                <a:gd name="T39" fmla="*/ 165 h 226"/>
                <a:gd name="T40" fmla="*/ 362 w 368"/>
                <a:gd name="T41" fmla="*/ 50 h 226"/>
                <a:gd name="T42" fmla="*/ 354 w 368"/>
                <a:gd name="T43" fmla="*/ 39 h 226"/>
                <a:gd name="T44" fmla="*/ 351 w 368"/>
                <a:gd name="T45" fmla="*/ 36 h 226"/>
                <a:gd name="T46" fmla="*/ 344 w 368"/>
                <a:gd name="T47" fmla="*/ 26 h 226"/>
                <a:gd name="T48" fmla="*/ 360 w 368"/>
                <a:gd name="T49" fmla="*/ 11 h 226"/>
                <a:gd name="T50" fmla="*/ 360 w 368"/>
                <a:gd name="T51" fmla="*/ 9 h 226"/>
                <a:gd name="T52" fmla="*/ 313 w 368"/>
                <a:gd name="T53" fmla="*/ 9 h 226"/>
                <a:gd name="T54" fmla="*/ 152 w 368"/>
                <a:gd name="T55" fmla="*/ 5 h 226"/>
                <a:gd name="T56" fmla="*/ 13 w 368"/>
                <a:gd name="T5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8" h="226">
                  <a:moveTo>
                    <a:pt x="13" y="0"/>
                  </a:moveTo>
                  <a:cubicBezTo>
                    <a:pt x="9" y="58"/>
                    <a:pt x="9" y="58"/>
                    <a:pt x="9" y="58"/>
                  </a:cubicBezTo>
                  <a:cubicBezTo>
                    <a:pt x="8" y="59"/>
                    <a:pt x="8" y="59"/>
                    <a:pt x="8" y="59"/>
                  </a:cubicBezTo>
                  <a:cubicBezTo>
                    <a:pt x="0" y="190"/>
                    <a:pt x="0" y="190"/>
                    <a:pt x="0" y="190"/>
                  </a:cubicBezTo>
                  <a:cubicBezTo>
                    <a:pt x="107" y="195"/>
                    <a:pt x="107" y="195"/>
                    <a:pt x="107" y="195"/>
                  </a:cubicBezTo>
                  <a:cubicBezTo>
                    <a:pt x="230" y="199"/>
                    <a:pt x="230" y="199"/>
                    <a:pt x="230" y="199"/>
                  </a:cubicBezTo>
                  <a:cubicBezTo>
                    <a:pt x="237" y="199"/>
                    <a:pt x="242" y="199"/>
                    <a:pt x="247" y="199"/>
                  </a:cubicBezTo>
                  <a:cubicBezTo>
                    <a:pt x="251" y="199"/>
                    <a:pt x="251" y="199"/>
                    <a:pt x="251" y="199"/>
                  </a:cubicBezTo>
                  <a:cubicBezTo>
                    <a:pt x="252" y="199"/>
                    <a:pt x="252" y="199"/>
                    <a:pt x="252" y="199"/>
                  </a:cubicBezTo>
                  <a:cubicBezTo>
                    <a:pt x="254" y="199"/>
                    <a:pt x="256" y="199"/>
                    <a:pt x="257" y="199"/>
                  </a:cubicBezTo>
                  <a:cubicBezTo>
                    <a:pt x="259" y="199"/>
                    <a:pt x="261" y="199"/>
                    <a:pt x="262" y="199"/>
                  </a:cubicBezTo>
                  <a:cubicBezTo>
                    <a:pt x="269" y="199"/>
                    <a:pt x="272" y="201"/>
                    <a:pt x="286" y="210"/>
                  </a:cubicBezTo>
                  <a:cubicBezTo>
                    <a:pt x="289" y="211"/>
                    <a:pt x="292" y="213"/>
                    <a:pt x="295" y="215"/>
                  </a:cubicBezTo>
                  <a:cubicBezTo>
                    <a:pt x="327" y="208"/>
                    <a:pt x="327" y="208"/>
                    <a:pt x="327" y="208"/>
                  </a:cubicBezTo>
                  <a:cubicBezTo>
                    <a:pt x="330" y="209"/>
                    <a:pt x="330" y="209"/>
                    <a:pt x="330" y="209"/>
                  </a:cubicBezTo>
                  <a:cubicBezTo>
                    <a:pt x="358" y="226"/>
                    <a:pt x="358" y="226"/>
                    <a:pt x="358" y="226"/>
                  </a:cubicBezTo>
                  <a:cubicBezTo>
                    <a:pt x="356" y="223"/>
                    <a:pt x="356" y="223"/>
                    <a:pt x="356" y="223"/>
                  </a:cubicBezTo>
                  <a:cubicBezTo>
                    <a:pt x="356" y="222"/>
                    <a:pt x="356" y="222"/>
                    <a:pt x="356" y="222"/>
                  </a:cubicBezTo>
                  <a:cubicBezTo>
                    <a:pt x="356" y="216"/>
                    <a:pt x="361" y="185"/>
                    <a:pt x="361" y="180"/>
                  </a:cubicBezTo>
                  <a:cubicBezTo>
                    <a:pt x="361" y="174"/>
                    <a:pt x="363" y="169"/>
                    <a:pt x="368" y="165"/>
                  </a:cubicBezTo>
                  <a:cubicBezTo>
                    <a:pt x="367" y="151"/>
                    <a:pt x="362" y="62"/>
                    <a:pt x="362" y="50"/>
                  </a:cubicBezTo>
                  <a:cubicBezTo>
                    <a:pt x="362" y="46"/>
                    <a:pt x="359" y="42"/>
                    <a:pt x="354" y="39"/>
                  </a:cubicBezTo>
                  <a:cubicBezTo>
                    <a:pt x="351" y="36"/>
                    <a:pt x="351" y="36"/>
                    <a:pt x="351" y="36"/>
                  </a:cubicBezTo>
                  <a:cubicBezTo>
                    <a:pt x="348" y="33"/>
                    <a:pt x="344" y="30"/>
                    <a:pt x="344" y="26"/>
                  </a:cubicBezTo>
                  <a:cubicBezTo>
                    <a:pt x="344" y="18"/>
                    <a:pt x="355" y="13"/>
                    <a:pt x="360" y="11"/>
                  </a:cubicBezTo>
                  <a:cubicBezTo>
                    <a:pt x="360" y="9"/>
                    <a:pt x="360" y="9"/>
                    <a:pt x="360" y="9"/>
                  </a:cubicBezTo>
                  <a:cubicBezTo>
                    <a:pt x="313" y="9"/>
                    <a:pt x="313" y="9"/>
                    <a:pt x="313" y="9"/>
                  </a:cubicBezTo>
                  <a:cubicBezTo>
                    <a:pt x="313" y="9"/>
                    <a:pt x="205" y="6"/>
                    <a:pt x="152" y="5"/>
                  </a:cubicBezTo>
                  <a:cubicBezTo>
                    <a:pt x="104" y="4"/>
                    <a:pt x="26" y="0"/>
                    <a:pt x="13"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8" name="Freeform 16">
              <a:extLst>
                <a:ext uri="{FF2B5EF4-FFF2-40B4-BE49-F238E27FC236}">
                  <a16:creationId xmlns:a16="http://schemas.microsoft.com/office/drawing/2014/main" id="{0A33E214-A7DC-A994-D0E8-5A37C62AA67D}"/>
                </a:ext>
              </a:extLst>
            </p:cNvPr>
            <p:cNvSpPr>
              <a:spLocks/>
            </p:cNvSpPr>
            <p:nvPr/>
          </p:nvSpPr>
          <p:spPr bwMode="auto">
            <a:xfrm>
              <a:off x="3483080" y="2875896"/>
              <a:ext cx="1184376" cy="572036"/>
            </a:xfrm>
            <a:custGeom>
              <a:avLst/>
              <a:gdLst>
                <a:gd name="T0" fmla="*/ 8 w 428"/>
                <a:gd name="T1" fmla="*/ 0 h 206"/>
                <a:gd name="T2" fmla="*/ 0 w 428"/>
                <a:gd name="T3" fmla="*/ 126 h 206"/>
                <a:gd name="T4" fmla="*/ 93 w 428"/>
                <a:gd name="T5" fmla="*/ 134 h 206"/>
                <a:gd name="T6" fmla="*/ 96 w 428"/>
                <a:gd name="T7" fmla="*/ 137 h 206"/>
                <a:gd name="T8" fmla="*/ 94 w 428"/>
                <a:gd name="T9" fmla="*/ 201 h 206"/>
                <a:gd name="T10" fmla="*/ 95 w 428"/>
                <a:gd name="T11" fmla="*/ 202 h 206"/>
                <a:gd name="T12" fmla="*/ 261 w 428"/>
                <a:gd name="T13" fmla="*/ 206 h 206"/>
                <a:gd name="T14" fmla="*/ 270 w 428"/>
                <a:gd name="T15" fmla="*/ 206 h 206"/>
                <a:gd name="T16" fmla="*/ 292 w 428"/>
                <a:gd name="T17" fmla="*/ 206 h 206"/>
                <a:gd name="T18" fmla="*/ 317 w 428"/>
                <a:gd name="T19" fmla="*/ 206 h 206"/>
                <a:gd name="T20" fmla="*/ 329 w 428"/>
                <a:gd name="T21" fmla="*/ 206 h 206"/>
                <a:gd name="T22" fmla="*/ 334 w 428"/>
                <a:gd name="T23" fmla="*/ 206 h 206"/>
                <a:gd name="T24" fmla="*/ 350 w 428"/>
                <a:gd name="T25" fmla="*/ 206 h 206"/>
                <a:gd name="T26" fmla="*/ 426 w 428"/>
                <a:gd name="T27" fmla="*/ 205 h 206"/>
                <a:gd name="T28" fmla="*/ 428 w 428"/>
                <a:gd name="T29" fmla="*/ 205 h 206"/>
                <a:gd name="T30" fmla="*/ 427 w 428"/>
                <a:gd name="T31" fmla="*/ 201 h 206"/>
                <a:gd name="T32" fmla="*/ 406 w 428"/>
                <a:gd name="T33" fmla="*/ 166 h 206"/>
                <a:gd name="T34" fmla="*/ 404 w 428"/>
                <a:gd name="T35" fmla="*/ 123 h 206"/>
                <a:gd name="T36" fmla="*/ 393 w 428"/>
                <a:gd name="T37" fmla="*/ 100 h 206"/>
                <a:gd name="T38" fmla="*/ 374 w 428"/>
                <a:gd name="T39" fmla="*/ 44 h 206"/>
                <a:gd name="T40" fmla="*/ 372 w 428"/>
                <a:gd name="T41" fmla="*/ 41 h 206"/>
                <a:gd name="T42" fmla="*/ 335 w 428"/>
                <a:gd name="T43" fmla="*/ 18 h 206"/>
                <a:gd name="T44" fmla="*/ 303 w 428"/>
                <a:gd name="T45" fmla="*/ 25 h 206"/>
                <a:gd name="T46" fmla="*/ 301 w 428"/>
                <a:gd name="T47" fmla="*/ 25 h 206"/>
                <a:gd name="T48" fmla="*/ 274 w 428"/>
                <a:gd name="T49" fmla="*/ 10 h 206"/>
                <a:gd name="T50" fmla="*/ 237 w 428"/>
                <a:gd name="T51" fmla="*/ 9 h 206"/>
                <a:gd name="T52" fmla="*/ 115 w 428"/>
                <a:gd name="T53" fmla="*/ 6 h 206"/>
                <a:gd name="T54" fmla="*/ 8 w 428"/>
                <a:gd name="T55"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8" h="206">
                  <a:moveTo>
                    <a:pt x="8" y="0"/>
                  </a:moveTo>
                  <a:cubicBezTo>
                    <a:pt x="0" y="126"/>
                    <a:pt x="0" y="126"/>
                    <a:pt x="0" y="126"/>
                  </a:cubicBezTo>
                  <a:cubicBezTo>
                    <a:pt x="93" y="134"/>
                    <a:pt x="93" y="134"/>
                    <a:pt x="93" y="134"/>
                  </a:cubicBezTo>
                  <a:cubicBezTo>
                    <a:pt x="94" y="134"/>
                    <a:pt x="96" y="136"/>
                    <a:pt x="96" y="137"/>
                  </a:cubicBezTo>
                  <a:cubicBezTo>
                    <a:pt x="94" y="201"/>
                    <a:pt x="94" y="201"/>
                    <a:pt x="94" y="201"/>
                  </a:cubicBezTo>
                  <a:cubicBezTo>
                    <a:pt x="95" y="202"/>
                    <a:pt x="95" y="202"/>
                    <a:pt x="95" y="202"/>
                  </a:cubicBezTo>
                  <a:cubicBezTo>
                    <a:pt x="113" y="202"/>
                    <a:pt x="198" y="206"/>
                    <a:pt x="261" y="206"/>
                  </a:cubicBezTo>
                  <a:cubicBezTo>
                    <a:pt x="264" y="206"/>
                    <a:pt x="267" y="206"/>
                    <a:pt x="270" y="206"/>
                  </a:cubicBezTo>
                  <a:cubicBezTo>
                    <a:pt x="278" y="206"/>
                    <a:pt x="285" y="206"/>
                    <a:pt x="292" y="206"/>
                  </a:cubicBezTo>
                  <a:cubicBezTo>
                    <a:pt x="301" y="206"/>
                    <a:pt x="309" y="206"/>
                    <a:pt x="317" y="206"/>
                  </a:cubicBezTo>
                  <a:cubicBezTo>
                    <a:pt x="321" y="206"/>
                    <a:pt x="325" y="206"/>
                    <a:pt x="329" y="206"/>
                  </a:cubicBezTo>
                  <a:cubicBezTo>
                    <a:pt x="331" y="206"/>
                    <a:pt x="332" y="206"/>
                    <a:pt x="334" y="206"/>
                  </a:cubicBezTo>
                  <a:cubicBezTo>
                    <a:pt x="350" y="206"/>
                    <a:pt x="350" y="206"/>
                    <a:pt x="350" y="206"/>
                  </a:cubicBezTo>
                  <a:cubicBezTo>
                    <a:pt x="372" y="206"/>
                    <a:pt x="394" y="206"/>
                    <a:pt x="426" y="205"/>
                  </a:cubicBezTo>
                  <a:cubicBezTo>
                    <a:pt x="428" y="205"/>
                    <a:pt x="428" y="205"/>
                    <a:pt x="428" y="205"/>
                  </a:cubicBezTo>
                  <a:cubicBezTo>
                    <a:pt x="427" y="204"/>
                    <a:pt x="427" y="203"/>
                    <a:pt x="427" y="201"/>
                  </a:cubicBezTo>
                  <a:cubicBezTo>
                    <a:pt x="427" y="196"/>
                    <a:pt x="406" y="168"/>
                    <a:pt x="406" y="166"/>
                  </a:cubicBezTo>
                  <a:cubicBezTo>
                    <a:pt x="406" y="166"/>
                    <a:pt x="404" y="131"/>
                    <a:pt x="404" y="123"/>
                  </a:cubicBezTo>
                  <a:cubicBezTo>
                    <a:pt x="404" y="116"/>
                    <a:pt x="395" y="107"/>
                    <a:pt x="393" y="100"/>
                  </a:cubicBezTo>
                  <a:cubicBezTo>
                    <a:pt x="391" y="95"/>
                    <a:pt x="375" y="48"/>
                    <a:pt x="374" y="44"/>
                  </a:cubicBezTo>
                  <a:cubicBezTo>
                    <a:pt x="372" y="41"/>
                    <a:pt x="372" y="41"/>
                    <a:pt x="372" y="41"/>
                  </a:cubicBezTo>
                  <a:cubicBezTo>
                    <a:pt x="335" y="18"/>
                    <a:pt x="335" y="18"/>
                    <a:pt x="335" y="18"/>
                  </a:cubicBezTo>
                  <a:cubicBezTo>
                    <a:pt x="303" y="25"/>
                    <a:pt x="303" y="25"/>
                    <a:pt x="303" y="25"/>
                  </a:cubicBezTo>
                  <a:cubicBezTo>
                    <a:pt x="301" y="25"/>
                    <a:pt x="301" y="25"/>
                    <a:pt x="301" y="25"/>
                  </a:cubicBezTo>
                  <a:cubicBezTo>
                    <a:pt x="274" y="10"/>
                    <a:pt x="274" y="10"/>
                    <a:pt x="274" y="10"/>
                  </a:cubicBezTo>
                  <a:cubicBezTo>
                    <a:pt x="237" y="9"/>
                    <a:pt x="237" y="9"/>
                    <a:pt x="237" y="9"/>
                  </a:cubicBezTo>
                  <a:cubicBezTo>
                    <a:pt x="115" y="6"/>
                    <a:pt x="115" y="6"/>
                    <a:pt x="115" y="6"/>
                  </a:cubicBezTo>
                  <a:lnTo>
                    <a:pt x="8"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79" name="Freeform 17">
              <a:extLst>
                <a:ext uri="{FF2B5EF4-FFF2-40B4-BE49-F238E27FC236}">
                  <a16:creationId xmlns:a16="http://schemas.microsoft.com/office/drawing/2014/main" id="{EE9C4CE1-C284-761F-A676-49B9513FE1E8}"/>
                </a:ext>
              </a:extLst>
            </p:cNvPr>
            <p:cNvSpPr>
              <a:spLocks/>
            </p:cNvSpPr>
            <p:nvPr/>
          </p:nvSpPr>
          <p:spPr bwMode="auto">
            <a:xfrm>
              <a:off x="3729566" y="3452581"/>
              <a:ext cx="1054156" cy="564284"/>
            </a:xfrm>
            <a:custGeom>
              <a:avLst/>
              <a:gdLst>
                <a:gd name="T0" fmla="*/ 5 w 381"/>
                <a:gd name="T1" fmla="*/ 0 h 203"/>
                <a:gd name="T2" fmla="*/ 0 w 381"/>
                <a:gd name="T3" fmla="*/ 196 h 203"/>
                <a:gd name="T4" fmla="*/ 241 w 381"/>
                <a:gd name="T5" fmla="*/ 203 h 203"/>
                <a:gd name="T6" fmla="*/ 380 w 381"/>
                <a:gd name="T7" fmla="*/ 198 h 203"/>
                <a:gd name="T8" fmla="*/ 381 w 381"/>
                <a:gd name="T9" fmla="*/ 63 h 203"/>
                <a:gd name="T10" fmla="*/ 355 w 381"/>
                <a:gd name="T11" fmla="*/ 31 h 203"/>
                <a:gd name="T12" fmla="*/ 361 w 381"/>
                <a:gd name="T13" fmla="*/ 16 h 203"/>
                <a:gd name="T14" fmla="*/ 362 w 381"/>
                <a:gd name="T15" fmla="*/ 14 h 203"/>
                <a:gd name="T16" fmla="*/ 344 w 381"/>
                <a:gd name="T17" fmla="*/ 3 h 203"/>
                <a:gd name="T18" fmla="*/ 223 w 381"/>
                <a:gd name="T19" fmla="*/ 5 h 203"/>
                <a:gd name="T20" fmla="*/ 5 w 381"/>
                <a:gd name="T21"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 h="203">
                  <a:moveTo>
                    <a:pt x="5" y="0"/>
                  </a:moveTo>
                  <a:cubicBezTo>
                    <a:pt x="0" y="196"/>
                    <a:pt x="0" y="196"/>
                    <a:pt x="0" y="196"/>
                  </a:cubicBezTo>
                  <a:cubicBezTo>
                    <a:pt x="20" y="197"/>
                    <a:pt x="141" y="203"/>
                    <a:pt x="241" y="203"/>
                  </a:cubicBezTo>
                  <a:cubicBezTo>
                    <a:pt x="333" y="203"/>
                    <a:pt x="371" y="200"/>
                    <a:pt x="380" y="198"/>
                  </a:cubicBezTo>
                  <a:cubicBezTo>
                    <a:pt x="381" y="63"/>
                    <a:pt x="381" y="63"/>
                    <a:pt x="381" y="63"/>
                  </a:cubicBezTo>
                  <a:cubicBezTo>
                    <a:pt x="374" y="57"/>
                    <a:pt x="355" y="41"/>
                    <a:pt x="355" y="31"/>
                  </a:cubicBezTo>
                  <a:cubicBezTo>
                    <a:pt x="355" y="25"/>
                    <a:pt x="358" y="21"/>
                    <a:pt x="361" y="16"/>
                  </a:cubicBezTo>
                  <a:cubicBezTo>
                    <a:pt x="362" y="14"/>
                    <a:pt x="362" y="14"/>
                    <a:pt x="362" y="14"/>
                  </a:cubicBezTo>
                  <a:cubicBezTo>
                    <a:pt x="357" y="13"/>
                    <a:pt x="349" y="9"/>
                    <a:pt x="344" y="3"/>
                  </a:cubicBezTo>
                  <a:cubicBezTo>
                    <a:pt x="303" y="4"/>
                    <a:pt x="263" y="5"/>
                    <a:pt x="223" y="5"/>
                  </a:cubicBezTo>
                  <a:cubicBezTo>
                    <a:pt x="150" y="5"/>
                    <a:pt x="78" y="3"/>
                    <a:pt x="5"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80" name="Freeform 18">
              <a:extLst>
                <a:ext uri="{FF2B5EF4-FFF2-40B4-BE49-F238E27FC236}">
                  <a16:creationId xmlns:a16="http://schemas.microsoft.com/office/drawing/2014/main" id="{418D6D5A-0B4B-28E7-2205-9E8193E9ACD7}"/>
                </a:ext>
              </a:extLst>
            </p:cNvPr>
            <p:cNvSpPr>
              <a:spLocks/>
            </p:cNvSpPr>
            <p:nvPr/>
          </p:nvSpPr>
          <p:spPr bwMode="auto">
            <a:xfrm>
              <a:off x="2501784" y="2406175"/>
              <a:ext cx="1009200" cy="816972"/>
            </a:xfrm>
            <a:custGeom>
              <a:avLst/>
              <a:gdLst>
                <a:gd name="T0" fmla="*/ 71 w 651"/>
                <a:gd name="T1" fmla="*/ 0 h 527"/>
                <a:gd name="T2" fmla="*/ 28 w 651"/>
                <a:gd name="T3" fmla="*/ 269 h 527"/>
                <a:gd name="T4" fmla="*/ 25 w 651"/>
                <a:gd name="T5" fmla="*/ 319 h 527"/>
                <a:gd name="T6" fmla="*/ 14 w 651"/>
                <a:gd name="T7" fmla="*/ 355 h 527"/>
                <a:gd name="T8" fmla="*/ 14 w 651"/>
                <a:gd name="T9" fmla="*/ 357 h 527"/>
                <a:gd name="T10" fmla="*/ 0 w 651"/>
                <a:gd name="T11" fmla="*/ 470 h 527"/>
                <a:gd name="T12" fmla="*/ 623 w 651"/>
                <a:gd name="T13" fmla="*/ 527 h 527"/>
                <a:gd name="T14" fmla="*/ 651 w 651"/>
                <a:gd name="T15" fmla="*/ 60 h 527"/>
                <a:gd name="T16" fmla="*/ 380 w 651"/>
                <a:gd name="T17" fmla="*/ 34 h 527"/>
                <a:gd name="T18" fmla="*/ 71 w 651"/>
                <a:gd name="T19" fmla="*/ 0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1" h="527">
                  <a:moveTo>
                    <a:pt x="71" y="0"/>
                  </a:moveTo>
                  <a:lnTo>
                    <a:pt x="28" y="269"/>
                  </a:lnTo>
                  <a:lnTo>
                    <a:pt x="25" y="319"/>
                  </a:lnTo>
                  <a:lnTo>
                    <a:pt x="14" y="355"/>
                  </a:lnTo>
                  <a:lnTo>
                    <a:pt x="14" y="357"/>
                  </a:lnTo>
                  <a:lnTo>
                    <a:pt x="0" y="470"/>
                  </a:lnTo>
                  <a:lnTo>
                    <a:pt x="623" y="527"/>
                  </a:lnTo>
                  <a:lnTo>
                    <a:pt x="651" y="60"/>
                  </a:lnTo>
                  <a:lnTo>
                    <a:pt x="380" y="34"/>
                  </a:lnTo>
                  <a:lnTo>
                    <a:pt x="71"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81" name="Freeform 19">
              <a:extLst>
                <a:ext uri="{FF2B5EF4-FFF2-40B4-BE49-F238E27FC236}">
                  <a16:creationId xmlns:a16="http://schemas.microsoft.com/office/drawing/2014/main" id="{B9D726C4-6921-7DB6-CD53-4D900F6CDB6A}"/>
                </a:ext>
              </a:extLst>
            </p:cNvPr>
            <p:cNvSpPr>
              <a:spLocks/>
            </p:cNvSpPr>
            <p:nvPr/>
          </p:nvSpPr>
          <p:spPr bwMode="auto">
            <a:xfrm>
              <a:off x="1182539" y="2734824"/>
              <a:ext cx="920837" cy="1398308"/>
            </a:xfrm>
            <a:custGeom>
              <a:avLst/>
              <a:gdLst>
                <a:gd name="T0" fmla="*/ 46 w 333"/>
                <a:gd name="T1" fmla="*/ 0 h 504"/>
                <a:gd name="T2" fmla="*/ 0 w 333"/>
                <a:gd name="T3" fmla="*/ 193 h 504"/>
                <a:gd name="T4" fmla="*/ 76 w 333"/>
                <a:gd name="T5" fmla="*/ 299 h 504"/>
                <a:gd name="T6" fmla="*/ 160 w 333"/>
                <a:gd name="T7" fmla="*/ 420 h 504"/>
                <a:gd name="T8" fmla="*/ 219 w 333"/>
                <a:gd name="T9" fmla="*/ 504 h 504"/>
                <a:gd name="T10" fmla="*/ 227 w 333"/>
                <a:gd name="T11" fmla="*/ 499 h 504"/>
                <a:gd name="T12" fmla="*/ 226 w 333"/>
                <a:gd name="T13" fmla="*/ 442 h 504"/>
                <a:gd name="T14" fmla="*/ 229 w 333"/>
                <a:gd name="T15" fmla="*/ 439 h 504"/>
                <a:gd name="T16" fmla="*/ 241 w 333"/>
                <a:gd name="T17" fmla="*/ 437 h 504"/>
                <a:gd name="T18" fmla="*/ 244 w 333"/>
                <a:gd name="T19" fmla="*/ 437 h 504"/>
                <a:gd name="T20" fmla="*/ 262 w 333"/>
                <a:gd name="T21" fmla="*/ 444 h 504"/>
                <a:gd name="T22" fmla="*/ 272 w 333"/>
                <a:gd name="T23" fmla="*/ 396 h 504"/>
                <a:gd name="T24" fmla="*/ 278 w 333"/>
                <a:gd name="T25" fmla="*/ 366 h 504"/>
                <a:gd name="T26" fmla="*/ 284 w 333"/>
                <a:gd name="T27" fmla="*/ 338 h 504"/>
                <a:gd name="T28" fmla="*/ 304 w 333"/>
                <a:gd name="T29" fmla="*/ 221 h 504"/>
                <a:gd name="T30" fmla="*/ 327 w 333"/>
                <a:gd name="T31" fmla="*/ 90 h 504"/>
                <a:gd name="T32" fmla="*/ 333 w 333"/>
                <a:gd name="T33" fmla="*/ 58 h 504"/>
                <a:gd name="T34" fmla="*/ 97 w 333"/>
                <a:gd name="T35" fmla="*/ 10 h 504"/>
                <a:gd name="T36" fmla="*/ 46 w 333"/>
                <a:gd name="T3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3" h="504">
                  <a:moveTo>
                    <a:pt x="46" y="0"/>
                  </a:moveTo>
                  <a:cubicBezTo>
                    <a:pt x="0" y="193"/>
                    <a:pt x="0" y="193"/>
                    <a:pt x="0" y="193"/>
                  </a:cubicBezTo>
                  <a:cubicBezTo>
                    <a:pt x="76" y="299"/>
                    <a:pt x="76" y="299"/>
                    <a:pt x="76" y="299"/>
                  </a:cubicBezTo>
                  <a:cubicBezTo>
                    <a:pt x="160" y="420"/>
                    <a:pt x="160" y="420"/>
                    <a:pt x="160" y="420"/>
                  </a:cubicBezTo>
                  <a:cubicBezTo>
                    <a:pt x="219" y="504"/>
                    <a:pt x="219" y="504"/>
                    <a:pt x="219" y="504"/>
                  </a:cubicBezTo>
                  <a:cubicBezTo>
                    <a:pt x="221" y="502"/>
                    <a:pt x="227" y="500"/>
                    <a:pt x="227" y="499"/>
                  </a:cubicBezTo>
                  <a:cubicBezTo>
                    <a:pt x="227" y="495"/>
                    <a:pt x="226" y="442"/>
                    <a:pt x="226" y="442"/>
                  </a:cubicBezTo>
                  <a:cubicBezTo>
                    <a:pt x="226" y="441"/>
                    <a:pt x="227" y="440"/>
                    <a:pt x="229" y="439"/>
                  </a:cubicBezTo>
                  <a:cubicBezTo>
                    <a:pt x="232" y="438"/>
                    <a:pt x="237" y="437"/>
                    <a:pt x="241" y="437"/>
                  </a:cubicBezTo>
                  <a:cubicBezTo>
                    <a:pt x="242" y="437"/>
                    <a:pt x="244" y="437"/>
                    <a:pt x="244" y="437"/>
                  </a:cubicBezTo>
                  <a:cubicBezTo>
                    <a:pt x="262" y="444"/>
                    <a:pt x="262" y="444"/>
                    <a:pt x="262" y="444"/>
                  </a:cubicBezTo>
                  <a:cubicBezTo>
                    <a:pt x="265" y="432"/>
                    <a:pt x="272" y="398"/>
                    <a:pt x="272" y="396"/>
                  </a:cubicBezTo>
                  <a:cubicBezTo>
                    <a:pt x="272" y="395"/>
                    <a:pt x="275" y="380"/>
                    <a:pt x="278" y="366"/>
                  </a:cubicBezTo>
                  <a:cubicBezTo>
                    <a:pt x="281" y="352"/>
                    <a:pt x="284" y="338"/>
                    <a:pt x="284" y="338"/>
                  </a:cubicBezTo>
                  <a:cubicBezTo>
                    <a:pt x="304" y="221"/>
                    <a:pt x="304" y="221"/>
                    <a:pt x="304" y="221"/>
                  </a:cubicBezTo>
                  <a:cubicBezTo>
                    <a:pt x="327" y="90"/>
                    <a:pt x="327" y="90"/>
                    <a:pt x="327" y="90"/>
                  </a:cubicBezTo>
                  <a:cubicBezTo>
                    <a:pt x="333" y="58"/>
                    <a:pt x="333" y="58"/>
                    <a:pt x="333" y="58"/>
                  </a:cubicBezTo>
                  <a:cubicBezTo>
                    <a:pt x="251" y="41"/>
                    <a:pt x="139" y="16"/>
                    <a:pt x="97" y="10"/>
                  </a:cubicBezTo>
                  <a:cubicBezTo>
                    <a:pt x="85" y="8"/>
                    <a:pt x="68" y="4"/>
                    <a:pt x="46"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82" name="Freeform 20">
              <a:extLst>
                <a:ext uri="{FF2B5EF4-FFF2-40B4-BE49-F238E27FC236}">
                  <a16:creationId xmlns:a16="http://schemas.microsoft.com/office/drawing/2014/main" id="{3F93ADE6-F2AD-5A92-2AFF-8BC49183B353}"/>
                </a:ext>
              </a:extLst>
            </p:cNvPr>
            <p:cNvSpPr>
              <a:spLocks/>
            </p:cNvSpPr>
            <p:nvPr/>
          </p:nvSpPr>
          <p:spPr bwMode="auto">
            <a:xfrm>
              <a:off x="1959204" y="2897598"/>
              <a:ext cx="796818" cy="1010750"/>
            </a:xfrm>
            <a:custGeom>
              <a:avLst/>
              <a:gdLst>
                <a:gd name="T0" fmla="*/ 58 w 288"/>
                <a:gd name="T1" fmla="*/ 0 h 364"/>
                <a:gd name="T2" fmla="*/ 52 w 288"/>
                <a:gd name="T3" fmla="*/ 32 h 364"/>
                <a:gd name="T4" fmla="*/ 29 w 288"/>
                <a:gd name="T5" fmla="*/ 163 h 364"/>
                <a:gd name="T6" fmla="*/ 9 w 288"/>
                <a:gd name="T7" fmla="*/ 280 h 364"/>
                <a:gd name="T8" fmla="*/ 3 w 288"/>
                <a:gd name="T9" fmla="*/ 308 h 364"/>
                <a:gd name="T10" fmla="*/ 0 w 288"/>
                <a:gd name="T11" fmla="*/ 326 h 364"/>
                <a:gd name="T12" fmla="*/ 128 w 288"/>
                <a:gd name="T13" fmla="*/ 345 h 364"/>
                <a:gd name="T14" fmla="*/ 256 w 288"/>
                <a:gd name="T15" fmla="*/ 364 h 364"/>
                <a:gd name="T16" fmla="*/ 288 w 288"/>
                <a:gd name="T17" fmla="*/ 100 h 364"/>
                <a:gd name="T18" fmla="*/ 192 w 288"/>
                <a:gd name="T19" fmla="*/ 91 h 364"/>
                <a:gd name="T20" fmla="*/ 189 w 288"/>
                <a:gd name="T21" fmla="*/ 88 h 364"/>
                <a:gd name="T22" fmla="*/ 189 w 288"/>
                <a:gd name="T23" fmla="*/ 88 h 364"/>
                <a:gd name="T24" fmla="*/ 198 w 288"/>
                <a:gd name="T25" fmla="*/ 23 h 364"/>
                <a:gd name="T26" fmla="*/ 131 w 288"/>
                <a:gd name="T27" fmla="*/ 14 h 364"/>
                <a:gd name="T28" fmla="*/ 58 w 288"/>
                <a:gd name="T2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8" h="364">
                  <a:moveTo>
                    <a:pt x="58" y="0"/>
                  </a:moveTo>
                  <a:cubicBezTo>
                    <a:pt x="52" y="32"/>
                    <a:pt x="52" y="32"/>
                    <a:pt x="52" y="32"/>
                  </a:cubicBezTo>
                  <a:cubicBezTo>
                    <a:pt x="29" y="163"/>
                    <a:pt x="29" y="163"/>
                    <a:pt x="29" y="163"/>
                  </a:cubicBezTo>
                  <a:cubicBezTo>
                    <a:pt x="9" y="280"/>
                    <a:pt x="9" y="280"/>
                    <a:pt x="9" y="280"/>
                  </a:cubicBezTo>
                  <a:cubicBezTo>
                    <a:pt x="9" y="280"/>
                    <a:pt x="6" y="294"/>
                    <a:pt x="3" y="308"/>
                  </a:cubicBezTo>
                  <a:cubicBezTo>
                    <a:pt x="0" y="326"/>
                    <a:pt x="0" y="326"/>
                    <a:pt x="0" y="326"/>
                  </a:cubicBezTo>
                  <a:cubicBezTo>
                    <a:pt x="13" y="328"/>
                    <a:pt x="71" y="337"/>
                    <a:pt x="128" y="345"/>
                  </a:cubicBezTo>
                  <a:cubicBezTo>
                    <a:pt x="256" y="364"/>
                    <a:pt x="256" y="364"/>
                    <a:pt x="256" y="364"/>
                  </a:cubicBezTo>
                  <a:cubicBezTo>
                    <a:pt x="288" y="100"/>
                    <a:pt x="288" y="100"/>
                    <a:pt x="288" y="100"/>
                  </a:cubicBezTo>
                  <a:cubicBezTo>
                    <a:pt x="192" y="91"/>
                    <a:pt x="192" y="91"/>
                    <a:pt x="192" y="91"/>
                  </a:cubicBezTo>
                  <a:cubicBezTo>
                    <a:pt x="190" y="91"/>
                    <a:pt x="189" y="90"/>
                    <a:pt x="189" y="88"/>
                  </a:cubicBezTo>
                  <a:cubicBezTo>
                    <a:pt x="189" y="88"/>
                    <a:pt x="189" y="88"/>
                    <a:pt x="189" y="88"/>
                  </a:cubicBezTo>
                  <a:cubicBezTo>
                    <a:pt x="198" y="23"/>
                    <a:pt x="198" y="23"/>
                    <a:pt x="198" y="23"/>
                  </a:cubicBezTo>
                  <a:cubicBezTo>
                    <a:pt x="191" y="22"/>
                    <a:pt x="172" y="20"/>
                    <a:pt x="131" y="14"/>
                  </a:cubicBezTo>
                  <a:cubicBezTo>
                    <a:pt x="115" y="11"/>
                    <a:pt x="89" y="6"/>
                    <a:pt x="58"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83" name="Freeform 21">
              <a:extLst>
                <a:ext uri="{FF2B5EF4-FFF2-40B4-BE49-F238E27FC236}">
                  <a16:creationId xmlns:a16="http://schemas.microsoft.com/office/drawing/2014/main" id="{A5A76F72-CCE8-43F4-7C4A-FB4753C81D58}"/>
                </a:ext>
              </a:extLst>
            </p:cNvPr>
            <p:cNvSpPr>
              <a:spLocks/>
            </p:cNvSpPr>
            <p:nvPr/>
          </p:nvSpPr>
          <p:spPr bwMode="auto">
            <a:xfrm>
              <a:off x="2683162" y="3178190"/>
              <a:ext cx="1049506" cy="818522"/>
            </a:xfrm>
            <a:custGeom>
              <a:avLst/>
              <a:gdLst>
                <a:gd name="T0" fmla="*/ 33 w 379"/>
                <a:gd name="T1" fmla="*/ 0 h 295"/>
                <a:gd name="T2" fmla="*/ 0 w 379"/>
                <a:gd name="T3" fmla="*/ 264 h 295"/>
                <a:gd name="T4" fmla="*/ 21 w 379"/>
                <a:gd name="T5" fmla="*/ 267 h 295"/>
                <a:gd name="T6" fmla="*/ 242 w 379"/>
                <a:gd name="T7" fmla="*/ 288 h 295"/>
                <a:gd name="T8" fmla="*/ 305 w 379"/>
                <a:gd name="T9" fmla="*/ 292 h 295"/>
                <a:gd name="T10" fmla="*/ 372 w 379"/>
                <a:gd name="T11" fmla="*/ 295 h 295"/>
                <a:gd name="T12" fmla="*/ 379 w 379"/>
                <a:gd name="T13" fmla="*/ 31 h 295"/>
                <a:gd name="T14" fmla="*/ 33 w 379"/>
                <a:gd name="T15" fmla="*/ 0 h 2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9" h="295">
                  <a:moveTo>
                    <a:pt x="33" y="0"/>
                  </a:moveTo>
                  <a:cubicBezTo>
                    <a:pt x="0" y="264"/>
                    <a:pt x="0" y="264"/>
                    <a:pt x="0" y="264"/>
                  </a:cubicBezTo>
                  <a:cubicBezTo>
                    <a:pt x="21" y="267"/>
                    <a:pt x="21" y="267"/>
                    <a:pt x="21" y="267"/>
                  </a:cubicBezTo>
                  <a:cubicBezTo>
                    <a:pt x="242" y="288"/>
                    <a:pt x="242" y="288"/>
                    <a:pt x="242" y="288"/>
                  </a:cubicBezTo>
                  <a:cubicBezTo>
                    <a:pt x="242" y="288"/>
                    <a:pt x="300" y="292"/>
                    <a:pt x="305" y="292"/>
                  </a:cubicBezTo>
                  <a:cubicBezTo>
                    <a:pt x="309" y="293"/>
                    <a:pt x="358" y="294"/>
                    <a:pt x="372" y="295"/>
                  </a:cubicBezTo>
                  <a:cubicBezTo>
                    <a:pt x="379" y="31"/>
                    <a:pt x="379" y="31"/>
                    <a:pt x="379" y="31"/>
                  </a:cubicBezTo>
                  <a:lnTo>
                    <a:pt x="3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84" name="Freeform 22">
              <a:extLst>
                <a:ext uri="{FF2B5EF4-FFF2-40B4-BE49-F238E27FC236}">
                  <a16:creationId xmlns:a16="http://schemas.microsoft.com/office/drawing/2014/main" id="{2DDCAF8D-20D9-3988-1AA2-B33DCD9C6211}"/>
                </a:ext>
              </a:extLst>
            </p:cNvPr>
            <p:cNvSpPr>
              <a:spLocks/>
            </p:cNvSpPr>
            <p:nvPr/>
          </p:nvSpPr>
          <p:spPr bwMode="auto">
            <a:xfrm>
              <a:off x="745374" y="1837241"/>
              <a:ext cx="1161123" cy="954942"/>
            </a:xfrm>
            <a:custGeom>
              <a:avLst/>
              <a:gdLst>
                <a:gd name="T0" fmla="*/ 89 w 420"/>
                <a:gd name="T1" fmla="*/ 0 h 344"/>
                <a:gd name="T2" fmla="*/ 82 w 420"/>
                <a:gd name="T3" fmla="*/ 4 h 344"/>
                <a:gd name="T4" fmla="*/ 82 w 420"/>
                <a:gd name="T5" fmla="*/ 4 h 344"/>
                <a:gd name="T6" fmla="*/ 82 w 420"/>
                <a:gd name="T7" fmla="*/ 4 h 344"/>
                <a:gd name="T8" fmla="*/ 82 w 420"/>
                <a:gd name="T9" fmla="*/ 4 h 344"/>
                <a:gd name="T10" fmla="*/ 82 w 420"/>
                <a:gd name="T11" fmla="*/ 5 h 344"/>
                <a:gd name="T12" fmla="*/ 82 w 420"/>
                <a:gd name="T13" fmla="*/ 5 h 344"/>
                <a:gd name="T14" fmla="*/ 82 w 420"/>
                <a:gd name="T15" fmla="*/ 5 h 344"/>
                <a:gd name="T16" fmla="*/ 82 w 420"/>
                <a:gd name="T17" fmla="*/ 6 h 344"/>
                <a:gd name="T18" fmla="*/ 84 w 420"/>
                <a:gd name="T19" fmla="*/ 19 h 344"/>
                <a:gd name="T20" fmla="*/ 84 w 420"/>
                <a:gd name="T21" fmla="*/ 22 h 344"/>
                <a:gd name="T22" fmla="*/ 76 w 420"/>
                <a:gd name="T23" fmla="*/ 56 h 344"/>
                <a:gd name="T24" fmla="*/ 59 w 420"/>
                <a:gd name="T25" fmla="*/ 94 h 344"/>
                <a:gd name="T26" fmla="*/ 47 w 420"/>
                <a:gd name="T27" fmla="*/ 123 h 344"/>
                <a:gd name="T28" fmla="*/ 29 w 420"/>
                <a:gd name="T29" fmla="*/ 163 h 344"/>
                <a:gd name="T30" fmla="*/ 4 w 420"/>
                <a:gd name="T31" fmla="*/ 200 h 344"/>
                <a:gd name="T32" fmla="*/ 2 w 420"/>
                <a:gd name="T33" fmla="*/ 212 h 344"/>
                <a:gd name="T34" fmla="*/ 4 w 420"/>
                <a:gd name="T35" fmla="*/ 227 h 344"/>
                <a:gd name="T36" fmla="*/ 4 w 420"/>
                <a:gd name="T37" fmla="*/ 228 h 344"/>
                <a:gd name="T38" fmla="*/ 4 w 420"/>
                <a:gd name="T39" fmla="*/ 228 h 344"/>
                <a:gd name="T40" fmla="*/ 4 w 420"/>
                <a:gd name="T41" fmla="*/ 228 h 344"/>
                <a:gd name="T42" fmla="*/ 4 w 420"/>
                <a:gd name="T43" fmla="*/ 228 h 344"/>
                <a:gd name="T44" fmla="*/ 4 w 420"/>
                <a:gd name="T45" fmla="*/ 228 h 344"/>
                <a:gd name="T46" fmla="*/ 0 w 420"/>
                <a:gd name="T47" fmla="*/ 266 h 344"/>
                <a:gd name="T48" fmla="*/ 256 w 420"/>
                <a:gd name="T49" fmla="*/ 327 h 344"/>
                <a:gd name="T50" fmla="*/ 345 w 420"/>
                <a:gd name="T51" fmla="*/ 344 h 344"/>
                <a:gd name="T52" fmla="*/ 349 w 420"/>
                <a:gd name="T53" fmla="*/ 327 h 344"/>
                <a:gd name="T54" fmla="*/ 366 w 420"/>
                <a:gd name="T55" fmla="*/ 247 h 344"/>
                <a:gd name="T56" fmla="*/ 378 w 420"/>
                <a:gd name="T57" fmla="*/ 212 h 344"/>
                <a:gd name="T58" fmla="*/ 380 w 420"/>
                <a:gd name="T59" fmla="*/ 206 h 344"/>
                <a:gd name="T60" fmla="*/ 376 w 420"/>
                <a:gd name="T61" fmla="*/ 199 h 344"/>
                <a:gd name="T62" fmla="*/ 373 w 420"/>
                <a:gd name="T63" fmla="*/ 197 h 344"/>
                <a:gd name="T64" fmla="*/ 369 w 420"/>
                <a:gd name="T65" fmla="*/ 189 h 344"/>
                <a:gd name="T66" fmla="*/ 389 w 420"/>
                <a:gd name="T67" fmla="*/ 163 h 344"/>
                <a:gd name="T68" fmla="*/ 390 w 420"/>
                <a:gd name="T69" fmla="*/ 162 h 344"/>
                <a:gd name="T70" fmla="*/ 417 w 420"/>
                <a:gd name="T71" fmla="*/ 123 h 344"/>
                <a:gd name="T72" fmla="*/ 420 w 420"/>
                <a:gd name="T73" fmla="*/ 110 h 344"/>
                <a:gd name="T74" fmla="*/ 406 w 420"/>
                <a:gd name="T75" fmla="*/ 93 h 344"/>
                <a:gd name="T76" fmla="*/ 406 w 420"/>
                <a:gd name="T77" fmla="*/ 91 h 344"/>
                <a:gd name="T78" fmla="*/ 369 w 420"/>
                <a:gd name="T79" fmla="*/ 84 h 344"/>
                <a:gd name="T80" fmla="*/ 326 w 420"/>
                <a:gd name="T81" fmla="*/ 76 h 344"/>
                <a:gd name="T82" fmla="*/ 250 w 420"/>
                <a:gd name="T83" fmla="*/ 74 h 344"/>
                <a:gd name="T84" fmla="*/ 216 w 420"/>
                <a:gd name="T85" fmla="*/ 67 h 344"/>
                <a:gd name="T86" fmla="*/ 161 w 420"/>
                <a:gd name="T87" fmla="*/ 57 h 344"/>
                <a:gd name="T88" fmla="*/ 133 w 420"/>
                <a:gd name="T89" fmla="*/ 38 h 344"/>
                <a:gd name="T90" fmla="*/ 135 w 420"/>
                <a:gd name="T91" fmla="*/ 20 h 344"/>
                <a:gd name="T92" fmla="*/ 134 w 420"/>
                <a:gd name="T93" fmla="*/ 15 h 344"/>
                <a:gd name="T94" fmla="*/ 93 w 420"/>
                <a:gd name="T95" fmla="*/ 0 h 344"/>
                <a:gd name="T96" fmla="*/ 89 w 420"/>
                <a:gd name="T97"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0" h="344">
                  <a:moveTo>
                    <a:pt x="89" y="0"/>
                  </a:moveTo>
                  <a:cubicBezTo>
                    <a:pt x="85" y="0"/>
                    <a:pt x="83" y="2"/>
                    <a:pt x="82" y="4"/>
                  </a:cubicBezTo>
                  <a:cubicBezTo>
                    <a:pt x="82" y="4"/>
                    <a:pt x="82" y="4"/>
                    <a:pt x="82" y="4"/>
                  </a:cubicBezTo>
                  <a:cubicBezTo>
                    <a:pt x="82" y="4"/>
                    <a:pt x="82" y="4"/>
                    <a:pt x="82" y="4"/>
                  </a:cubicBezTo>
                  <a:cubicBezTo>
                    <a:pt x="82" y="4"/>
                    <a:pt x="82" y="4"/>
                    <a:pt x="82" y="4"/>
                  </a:cubicBezTo>
                  <a:cubicBezTo>
                    <a:pt x="82" y="5"/>
                    <a:pt x="82" y="5"/>
                    <a:pt x="82" y="5"/>
                  </a:cubicBezTo>
                  <a:cubicBezTo>
                    <a:pt x="82" y="5"/>
                    <a:pt x="82" y="5"/>
                    <a:pt x="82" y="5"/>
                  </a:cubicBezTo>
                  <a:cubicBezTo>
                    <a:pt x="82" y="5"/>
                    <a:pt x="82" y="5"/>
                    <a:pt x="82" y="5"/>
                  </a:cubicBezTo>
                  <a:cubicBezTo>
                    <a:pt x="82" y="6"/>
                    <a:pt x="82" y="6"/>
                    <a:pt x="82" y="6"/>
                  </a:cubicBezTo>
                  <a:cubicBezTo>
                    <a:pt x="82" y="10"/>
                    <a:pt x="84" y="15"/>
                    <a:pt x="84" y="19"/>
                  </a:cubicBezTo>
                  <a:cubicBezTo>
                    <a:pt x="84" y="20"/>
                    <a:pt x="84" y="21"/>
                    <a:pt x="84" y="22"/>
                  </a:cubicBezTo>
                  <a:cubicBezTo>
                    <a:pt x="81" y="30"/>
                    <a:pt x="78" y="44"/>
                    <a:pt x="76" y="56"/>
                  </a:cubicBezTo>
                  <a:cubicBezTo>
                    <a:pt x="75" y="69"/>
                    <a:pt x="65" y="80"/>
                    <a:pt x="59" y="94"/>
                  </a:cubicBezTo>
                  <a:cubicBezTo>
                    <a:pt x="54" y="109"/>
                    <a:pt x="49" y="115"/>
                    <a:pt x="47" y="123"/>
                  </a:cubicBezTo>
                  <a:cubicBezTo>
                    <a:pt x="45" y="131"/>
                    <a:pt x="34" y="153"/>
                    <a:pt x="29" y="163"/>
                  </a:cubicBezTo>
                  <a:cubicBezTo>
                    <a:pt x="23" y="174"/>
                    <a:pt x="9" y="186"/>
                    <a:pt x="4" y="200"/>
                  </a:cubicBezTo>
                  <a:cubicBezTo>
                    <a:pt x="3" y="205"/>
                    <a:pt x="2" y="209"/>
                    <a:pt x="2" y="212"/>
                  </a:cubicBezTo>
                  <a:cubicBezTo>
                    <a:pt x="2" y="218"/>
                    <a:pt x="4" y="222"/>
                    <a:pt x="4" y="227"/>
                  </a:cubicBezTo>
                  <a:cubicBezTo>
                    <a:pt x="4" y="228"/>
                    <a:pt x="4" y="228"/>
                    <a:pt x="4" y="228"/>
                  </a:cubicBezTo>
                  <a:cubicBezTo>
                    <a:pt x="4" y="228"/>
                    <a:pt x="4" y="228"/>
                    <a:pt x="4" y="228"/>
                  </a:cubicBezTo>
                  <a:cubicBezTo>
                    <a:pt x="4" y="228"/>
                    <a:pt x="4" y="228"/>
                    <a:pt x="4" y="228"/>
                  </a:cubicBezTo>
                  <a:cubicBezTo>
                    <a:pt x="4" y="228"/>
                    <a:pt x="4" y="228"/>
                    <a:pt x="4" y="228"/>
                  </a:cubicBezTo>
                  <a:cubicBezTo>
                    <a:pt x="4" y="228"/>
                    <a:pt x="4" y="228"/>
                    <a:pt x="4" y="228"/>
                  </a:cubicBezTo>
                  <a:cubicBezTo>
                    <a:pt x="4" y="235"/>
                    <a:pt x="3" y="250"/>
                    <a:pt x="0" y="266"/>
                  </a:cubicBezTo>
                  <a:cubicBezTo>
                    <a:pt x="68" y="283"/>
                    <a:pt x="211" y="320"/>
                    <a:pt x="256" y="327"/>
                  </a:cubicBezTo>
                  <a:cubicBezTo>
                    <a:pt x="275" y="330"/>
                    <a:pt x="307" y="336"/>
                    <a:pt x="345" y="344"/>
                  </a:cubicBezTo>
                  <a:cubicBezTo>
                    <a:pt x="349" y="327"/>
                    <a:pt x="349" y="327"/>
                    <a:pt x="349" y="327"/>
                  </a:cubicBezTo>
                  <a:cubicBezTo>
                    <a:pt x="349" y="327"/>
                    <a:pt x="361" y="272"/>
                    <a:pt x="366" y="247"/>
                  </a:cubicBezTo>
                  <a:cubicBezTo>
                    <a:pt x="368" y="234"/>
                    <a:pt x="373" y="224"/>
                    <a:pt x="378" y="212"/>
                  </a:cubicBezTo>
                  <a:cubicBezTo>
                    <a:pt x="379" y="209"/>
                    <a:pt x="380" y="207"/>
                    <a:pt x="380" y="206"/>
                  </a:cubicBezTo>
                  <a:cubicBezTo>
                    <a:pt x="380" y="203"/>
                    <a:pt x="379" y="201"/>
                    <a:pt x="376" y="199"/>
                  </a:cubicBezTo>
                  <a:cubicBezTo>
                    <a:pt x="373" y="197"/>
                    <a:pt x="373" y="197"/>
                    <a:pt x="373" y="197"/>
                  </a:cubicBezTo>
                  <a:cubicBezTo>
                    <a:pt x="371" y="195"/>
                    <a:pt x="369" y="192"/>
                    <a:pt x="369" y="189"/>
                  </a:cubicBezTo>
                  <a:cubicBezTo>
                    <a:pt x="369" y="182"/>
                    <a:pt x="383" y="165"/>
                    <a:pt x="389" y="163"/>
                  </a:cubicBezTo>
                  <a:cubicBezTo>
                    <a:pt x="390" y="162"/>
                    <a:pt x="390" y="162"/>
                    <a:pt x="390" y="162"/>
                  </a:cubicBezTo>
                  <a:cubicBezTo>
                    <a:pt x="400" y="150"/>
                    <a:pt x="409" y="136"/>
                    <a:pt x="417" y="123"/>
                  </a:cubicBezTo>
                  <a:cubicBezTo>
                    <a:pt x="420" y="110"/>
                    <a:pt x="420" y="110"/>
                    <a:pt x="420" y="110"/>
                  </a:cubicBezTo>
                  <a:cubicBezTo>
                    <a:pt x="415" y="107"/>
                    <a:pt x="406" y="99"/>
                    <a:pt x="406" y="93"/>
                  </a:cubicBezTo>
                  <a:cubicBezTo>
                    <a:pt x="406" y="91"/>
                    <a:pt x="406" y="91"/>
                    <a:pt x="406" y="91"/>
                  </a:cubicBezTo>
                  <a:cubicBezTo>
                    <a:pt x="400" y="90"/>
                    <a:pt x="385" y="87"/>
                    <a:pt x="369" y="84"/>
                  </a:cubicBezTo>
                  <a:cubicBezTo>
                    <a:pt x="349" y="80"/>
                    <a:pt x="329" y="76"/>
                    <a:pt x="326" y="76"/>
                  </a:cubicBezTo>
                  <a:cubicBezTo>
                    <a:pt x="318" y="76"/>
                    <a:pt x="264" y="74"/>
                    <a:pt x="250" y="74"/>
                  </a:cubicBezTo>
                  <a:cubicBezTo>
                    <a:pt x="239" y="74"/>
                    <a:pt x="226" y="70"/>
                    <a:pt x="216" y="67"/>
                  </a:cubicBezTo>
                  <a:cubicBezTo>
                    <a:pt x="201" y="63"/>
                    <a:pt x="183" y="59"/>
                    <a:pt x="161" y="57"/>
                  </a:cubicBezTo>
                  <a:cubicBezTo>
                    <a:pt x="139" y="56"/>
                    <a:pt x="132" y="48"/>
                    <a:pt x="133" y="38"/>
                  </a:cubicBezTo>
                  <a:cubicBezTo>
                    <a:pt x="133" y="33"/>
                    <a:pt x="135" y="25"/>
                    <a:pt x="135" y="20"/>
                  </a:cubicBezTo>
                  <a:cubicBezTo>
                    <a:pt x="135" y="18"/>
                    <a:pt x="135" y="16"/>
                    <a:pt x="134" y="15"/>
                  </a:cubicBezTo>
                  <a:cubicBezTo>
                    <a:pt x="130" y="8"/>
                    <a:pt x="112" y="3"/>
                    <a:pt x="93" y="0"/>
                  </a:cubicBezTo>
                  <a:lnTo>
                    <a:pt x="89"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85" name="Freeform 23">
              <a:extLst>
                <a:ext uri="{FF2B5EF4-FFF2-40B4-BE49-F238E27FC236}">
                  <a16:creationId xmlns:a16="http://schemas.microsoft.com/office/drawing/2014/main" id="{7E62CDE5-280A-931C-8E50-A4123CCA3376}"/>
                </a:ext>
              </a:extLst>
            </p:cNvPr>
            <p:cNvSpPr>
              <a:spLocks/>
            </p:cNvSpPr>
            <p:nvPr/>
          </p:nvSpPr>
          <p:spPr bwMode="auto">
            <a:xfrm>
              <a:off x="999611" y="1355119"/>
              <a:ext cx="962694" cy="719307"/>
            </a:xfrm>
            <a:custGeom>
              <a:avLst/>
              <a:gdLst>
                <a:gd name="T0" fmla="*/ 100 w 348"/>
                <a:gd name="T1" fmla="*/ 6 h 259"/>
                <a:gd name="T2" fmla="*/ 105 w 348"/>
                <a:gd name="T3" fmla="*/ 29 h 259"/>
                <a:gd name="T4" fmla="*/ 93 w 348"/>
                <a:gd name="T5" fmla="*/ 83 h 259"/>
                <a:gd name="T6" fmla="*/ 65 w 348"/>
                <a:gd name="T7" fmla="*/ 133 h 259"/>
                <a:gd name="T8" fmla="*/ 59 w 348"/>
                <a:gd name="T9" fmla="*/ 136 h 259"/>
                <a:gd name="T10" fmla="*/ 74 w 348"/>
                <a:gd name="T11" fmla="*/ 115 h 259"/>
                <a:gd name="T12" fmla="*/ 61 w 348"/>
                <a:gd name="T13" fmla="*/ 101 h 259"/>
                <a:gd name="T14" fmla="*/ 90 w 348"/>
                <a:gd name="T15" fmla="*/ 71 h 259"/>
                <a:gd name="T16" fmla="*/ 70 w 348"/>
                <a:gd name="T17" fmla="*/ 59 h 259"/>
                <a:gd name="T18" fmla="*/ 59 w 348"/>
                <a:gd name="T19" fmla="*/ 45 h 259"/>
                <a:gd name="T20" fmla="*/ 55 w 348"/>
                <a:gd name="T21" fmla="*/ 45 h 259"/>
                <a:gd name="T22" fmla="*/ 10 w 348"/>
                <a:gd name="T23" fmla="*/ 13 h 259"/>
                <a:gd name="T24" fmla="*/ 9 w 348"/>
                <a:gd name="T25" fmla="*/ 40 h 259"/>
                <a:gd name="T26" fmla="*/ 6 w 348"/>
                <a:gd name="T27" fmla="*/ 100 h 259"/>
                <a:gd name="T28" fmla="*/ 13 w 348"/>
                <a:gd name="T29" fmla="*/ 117 h 259"/>
                <a:gd name="T30" fmla="*/ 7 w 348"/>
                <a:gd name="T31" fmla="*/ 124 h 259"/>
                <a:gd name="T32" fmla="*/ 12 w 348"/>
                <a:gd name="T33" fmla="*/ 134 h 259"/>
                <a:gd name="T34" fmla="*/ 1 w 348"/>
                <a:gd name="T35" fmla="*/ 148 h 259"/>
                <a:gd name="T36" fmla="*/ 11 w 348"/>
                <a:gd name="T37" fmla="*/ 170 h 259"/>
                <a:gd name="T38" fmla="*/ 49 w 348"/>
                <a:gd name="T39" fmla="*/ 194 h 259"/>
                <a:gd name="T40" fmla="*/ 70 w 348"/>
                <a:gd name="T41" fmla="*/ 225 h 259"/>
                <a:gd name="T42" fmla="*/ 158 w 348"/>
                <a:gd name="T43" fmla="*/ 242 h 259"/>
                <a:gd name="T44" fmla="*/ 278 w 348"/>
                <a:gd name="T45" fmla="*/ 252 h 259"/>
                <a:gd name="T46" fmla="*/ 318 w 348"/>
                <a:gd name="T47" fmla="*/ 217 h 259"/>
                <a:gd name="T48" fmla="*/ 348 w 348"/>
                <a:gd name="T49" fmla="*/ 64 h 259"/>
                <a:gd name="T50" fmla="*/ 260 w 348"/>
                <a:gd name="T51" fmla="*/ 45 h 259"/>
                <a:gd name="T52" fmla="*/ 259 w 348"/>
                <a:gd name="T53" fmla="*/ 45 h 259"/>
                <a:gd name="T54" fmla="*/ 257 w 348"/>
                <a:gd name="T55" fmla="*/ 45 h 259"/>
                <a:gd name="T56" fmla="*/ 256 w 348"/>
                <a:gd name="T57" fmla="*/ 45 h 259"/>
                <a:gd name="T58" fmla="*/ 255 w 348"/>
                <a:gd name="T59" fmla="*/ 45 h 259"/>
                <a:gd name="T60" fmla="*/ 255 w 348"/>
                <a:gd name="T61" fmla="*/ 44 h 259"/>
                <a:gd name="T62" fmla="*/ 102 w 348"/>
                <a:gd name="T6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8" h="259">
                  <a:moveTo>
                    <a:pt x="101" y="0"/>
                  </a:moveTo>
                  <a:cubicBezTo>
                    <a:pt x="101" y="2"/>
                    <a:pt x="100" y="4"/>
                    <a:pt x="100" y="6"/>
                  </a:cubicBezTo>
                  <a:cubicBezTo>
                    <a:pt x="100" y="7"/>
                    <a:pt x="100" y="7"/>
                    <a:pt x="100" y="7"/>
                  </a:cubicBezTo>
                  <a:cubicBezTo>
                    <a:pt x="101" y="17"/>
                    <a:pt x="105" y="29"/>
                    <a:pt x="105" y="29"/>
                  </a:cubicBezTo>
                  <a:cubicBezTo>
                    <a:pt x="105" y="29"/>
                    <a:pt x="104" y="46"/>
                    <a:pt x="104" y="59"/>
                  </a:cubicBezTo>
                  <a:cubicBezTo>
                    <a:pt x="104" y="71"/>
                    <a:pt x="99" y="69"/>
                    <a:pt x="93" y="83"/>
                  </a:cubicBezTo>
                  <a:cubicBezTo>
                    <a:pt x="88" y="96"/>
                    <a:pt x="91" y="105"/>
                    <a:pt x="86" y="113"/>
                  </a:cubicBezTo>
                  <a:cubicBezTo>
                    <a:pt x="81" y="121"/>
                    <a:pt x="80" y="124"/>
                    <a:pt x="65" y="133"/>
                  </a:cubicBezTo>
                  <a:cubicBezTo>
                    <a:pt x="62" y="135"/>
                    <a:pt x="61" y="136"/>
                    <a:pt x="60" y="136"/>
                  </a:cubicBezTo>
                  <a:cubicBezTo>
                    <a:pt x="59" y="136"/>
                    <a:pt x="59" y="136"/>
                    <a:pt x="59" y="136"/>
                  </a:cubicBezTo>
                  <a:cubicBezTo>
                    <a:pt x="58" y="134"/>
                    <a:pt x="67" y="124"/>
                    <a:pt x="72" y="120"/>
                  </a:cubicBezTo>
                  <a:cubicBezTo>
                    <a:pt x="74" y="118"/>
                    <a:pt x="74" y="116"/>
                    <a:pt x="74" y="115"/>
                  </a:cubicBezTo>
                  <a:cubicBezTo>
                    <a:pt x="74" y="111"/>
                    <a:pt x="70" y="108"/>
                    <a:pt x="64" y="105"/>
                  </a:cubicBezTo>
                  <a:cubicBezTo>
                    <a:pt x="62" y="103"/>
                    <a:pt x="61" y="102"/>
                    <a:pt x="61" y="101"/>
                  </a:cubicBezTo>
                  <a:cubicBezTo>
                    <a:pt x="61" y="97"/>
                    <a:pt x="70" y="93"/>
                    <a:pt x="79" y="86"/>
                  </a:cubicBezTo>
                  <a:cubicBezTo>
                    <a:pt x="88" y="77"/>
                    <a:pt x="90" y="74"/>
                    <a:pt x="90" y="71"/>
                  </a:cubicBezTo>
                  <a:cubicBezTo>
                    <a:pt x="90" y="69"/>
                    <a:pt x="90" y="69"/>
                    <a:pt x="90" y="69"/>
                  </a:cubicBezTo>
                  <a:cubicBezTo>
                    <a:pt x="89" y="64"/>
                    <a:pt x="79" y="60"/>
                    <a:pt x="70" y="59"/>
                  </a:cubicBezTo>
                  <a:cubicBezTo>
                    <a:pt x="66" y="58"/>
                    <a:pt x="63" y="52"/>
                    <a:pt x="60" y="45"/>
                  </a:cubicBezTo>
                  <a:cubicBezTo>
                    <a:pt x="59" y="45"/>
                    <a:pt x="59" y="45"/>
                    <a:pt x="59" y="45"/>
                  </a:cubicBezTo>
                  <a:cubicBezTo>
                    <a:pt x="58" y="45"/>
                    <a:pt x="58" y="45"/>
                    <a:pt x="58" y="45"/>
                  </a:cubicBezTo>
                  <a:cubicBezTo>
                    <a:pt x="57" y="45"/>
                    <a:pt x="56" y="45"/>
                    <a:pt x="55" y="45"/>
                  </a:cubicBezTo>
                  <a:cubicBezTo>
                    <a:pt x="53" y="45"/>
                    <a:pt x="51" y="45"/>
                    <a:pt x="49" y="44"/>
                  </a:cubicBezTo>
                  <a:cubicBezTo>
                    <a:pt x="28" y="43"/>
                    <a:pt x="10" y="13"/>
                    <a:pt x="10" y="13"/>
                  </a:cubicBezTo>
                  <a:cubicBezTo>
                    <a:pt x="10" y="13"/>
                    <a:pt x="8" y="26"/>
                    <a:pt x="8" y="35"/>
                  </a:cubicBezTo>
                  <a:cubicBezTo>
                    <a:pt x="8" y="37"/>
                    <a:pt x="9" y="39"/>
                    <a:pt x="9" y="40"/>
                  </a:cubicBezTo>
                  <a:cubicBezTo>
                    <a:pt x="9" y="41"/>
                    <a:pt x="9" y="42"/>
                    <a:pt x="9" y="44"/>
                  </a:cubicBezTo>
                  <a:cubicBezTo>
                    <a:pt x="9" y="58"/>
                    <a:pt x="7" y="92"/>
                    <a:pt x="6" y="100"/>
                  </a:cubicBezTo>
                  <a:cubicBezTo>
                    <a:pt x="6" y="102"/>
                    <a:pt x="6" y="103"/>
                    <a:pt x="6" y="104"/>
                  </a:cubicBezTo>
                  <a:cubicBezTo>
                    <a:pt x="6" y="110"/>
                    <a:pt x="8" y="110"/>
                    <a:pt x="13" y="117"/>
                  </a:cubicBezTo>
                  <a:cubicBezTo>
                    <a:pt x="15" y="120"/>
                    <a:pt x="16" y="121"/>
                    <a:pt x="16" y="122"/>
                  </a:cubicBezTo>
                  <a:cubicBezTo>
                    <a:pt x="16" y="124"/>
                    <a:pt x="11" y="122"/>
                    <a:pt x="7" y="124"/>
                  </a:cubicBezTo>
                  <a:cubicBezTo>
                    <a:pt x="6" y="125"/>
                    <a:pt x="5" y="126"/>
                    <a:pt x="5" y="126"/>
                  </a:cubicBezTo>
                  <a:cubicBezTo>
                    <a:pt x="5" y="128"/>
                    <a:pt x="10" y="128"/>
                    <a:pt x="12" y="134"/>
                  </a:cubicBezTo>
                  <a:cubicBezTo>
                    <a:pt x="13" y="136"/>
                    <a:pt x="13" y="136"/>
                    <a:pt x="13" y="136"/>
                  </a:cubicBezTo>
                  <a:cubicBezTo>
                    <a:pt x="13" y="143"/>
                    <a:pt x="1" y="144"/>
                    <a:pt x="1" y="148"/>
                  </a:cubicBezTo>
                  <a:cubicBezTo>
                    <a:pt x="0" y="152"/>
                    <a:pt x="1" y="156"/>
                    <a:pt x="5" y="164"/>
                  </a:cubicBezTo>
                  <a:cubicBezTo>
                    <a:pt x="7" y="168"/>
                    <a:pt x="9" y="169"/>
                    <a:pt x="11" y="170"/>
                  </a:cubicBezTo>
                  <a:cubicBezTo>
                    <a:pt x="27" y="173"/>
                    <a:pt x="43" y="178"/>
                    <a:pt x="47" y="186"/>
                  </a:cubicBezTo>
                  <a:cubicBezTo>
                    <a:pt x="49" y="188"/>
                    <a:pt x="49" y="191"/>
                    <a:pt x="49" y="194"/>
                  </a:cubicBezTo>
                  <a:cubicBezTo>
                    <a:pt x="49" y="200"/>
                    <a:pt x="47" y="206"/>
                    <a:pt x="47" y="212"/>
                  </a:cubicBezTo>
                  <a:cubicBezTo>
                    <a:pt x="47" y="217"/>
                    <a:pt x="49" y="224"/>
                    <a:pt x="70" y="225"/>
                  </a:cubicBezTo>
                  <a:cubicBezTo>
                    <a:pt x="96" y="227"/>
                    <a:pt x="120" y="234"/>
                    <a:pt x="145" y="240"/>
                  </a:cubicBezTo>
                  <a:cubicBezTo>
                    <a:pt x="150" y="241"/>
                    <a:pt x="155" y="242"/>
                    <a:pt x="158" y="242"/>
                  </a:cubicBezTo>
                  <a:cubicBezTo>
                    <a:pt x="172" y="242"/>
                    <a:pt x="226" y="243"/>
                    <a:pt x="234" y="243"/>
                  </a:cubicBezTo>
                  <a:cubicBezTo>
                    <a:pt x="238" y="243"/>
                    <a:pt x="259" y="248"/>
                    <a:pt x="278" y="252"/>
                  </a:cubicBezTo>
                  <a:cubicBezTo>
                    <a:pt x="293" y="255"/>
                    <a:pt x="308" y="258"/>
                    <a:pt x="314" y="259"/>
                  </a:cubicBezTo>
                  <a:cubicBezTo>
                    <a:pt x="315" y="249"/>
                    <a:pt x="316" y="232"/>
                    <a:pt x="318" y="217"/>
                  </a:cubicBezTo>
                  <a:cubicBezTo>
                    <a:pt x="321" y="197"/>
                    <a:pt x="328" y="161"/>
                    <a:pt x="336" y="131"/>
                  </a:cubicBezTo>
                  <a:cubicBezTo>
                    <a:pt x="341" y="112"/>
                    <a:pt x="345" y="82"/>
                    <a:pt x="348" y="64"/>
                  </a:cubicBezTo>
                  <a:cubicBezTo>
                    <a:pt x="332" y="61"/>
                    <a:pt x="318" y="58"/>
                    <a:pt x="306" y="55"/>
                  </a:cubicBezTo>
                  <a:cubicBezTo>
                    <a:pt x="286" y="51"/>
                    <a:pt x="269" y="47"/>
                    <a:pt x="260" y="45"/>
                  </a:cubicBezTo>
                  <a:cubicBezTo>
                    <a:pt x="260" y="45"/>
                    <a:pt x="260" y="45"/>
                    <a:pt x="260" y="45"/>
                  </a:cubicBezTo>
                  <a:cubicBezTo>
                    <a:pt x="259" y="45"/>
                    <a:pt x="259" y="45"/>
                    <a:pt x="259" y="45"/>
                  </a:cubicBezTo>
                  <a:cubicBezTo>
                    <a:pt x="259" y="45"/>
                    <a:pt x="259" y="45"/>
                    <a:pt x="259" y="45"/>
                  </a:cubicBezTo>
                  <a:cubicBezTo>
                    <a:pt x="257" y="45"/>
                    <a:pt x="257" y="45"/>
                    <a:pt x="257" y="45"/>
                  </a:cubicBezTo>
                  <a:cubicBezTo>
                    <a:pt x="256" y="45"/>
                    <a:pt x="256" y="45"/>
                    <a:pt x="256" y="45"/>
                  </a:cubicBezTo>
                  <a:cubicBezTo>
                    <a:pt x="256" y="45"/>
                    <a:pt x="256" y="45"/>
                    <a:pt x="256" y="45"/>
                  </a:cubicBezTo>
                  <a:cubicBezTo>
                    <a:pt x="255" y="45"/>
                    <a:pt x="255" y="45"/>
                    <a:pt x="255" y="45"/>
                  </a:cubicBezTo>
                  <a:cubicBezTo>
                    <a:pt x="255" y="45"/>
                    <a:pt x="255" y="45"/>
                    <a:pt x="255" y="45"/>
                  </a:cubicBezTo>
                  <a:cubicBezTo>
                    <a:pt x="255" y="45"/>
                    <a:pt x="255" y="45"/>
                    <a:pt x="255" y="45"/>
                  </a:cubicBezTo>
                  <a:cubicBezTo>
                    <a:pt x="255" y="44"/>
                    <a:pt x="255" y="44"/>
                    <a:pt x="255" y="44"/>
                  </a:cubicBezTo>
                  <a:cubicBezTo>
                    <a:pt x="254" y="44"/>
                    <a:pt x="254" y="44"/>
                    <a:pt x="254" y="44"/>
                  </a:cubicBezTo>
                  <a:cubicBezTo>
                    <a:pt x="226" y="40"/>
                    <a:pt x="113" y="1"/>
                    <a:pt x="102" y="0"/>
                  </a:cubicBezTo>
                  <a:lnTo>
                    <a:pt x="10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86" name="Freeform 24">
              <a:extLst>
                <a:ext uri="{FF2B5EF4-FFF2-40B4-BE49-F238E27FC236}">
                  <a16:creationId xmlns:a16="http://schemas.microsoft.com/office/drawing/2014/main" id="{C245F84F-7E84-F0E2-CD54-6BF839DBB4D5}"/>
                </a:ext>
              </a:extLst>
            </p:cNvPr>
            <p:cNvSpPr>
              <a:spLocks/>
            </p:cNvSpPr>
            <p:nvPr/>
          </p:nvSpPr>
          <p:spPr bwMode="auto">
            <a:xfrm>
              <a:off x="653910" y="2592203"/>
              <a:ext cx="1175074" cy="1984295"/>
            </a:xfrm>
            <a:custGeom>
              <a:avLst/>
              <a:gdLst>
                <a:gd name="T0" fmla="*/ 29 w 425"/>
                <a:gd name="T1" fmla="*/ 15 h 715"/>
                <a:gd name="T2" fmla="*/ 1 w 425"/>
                <a:gd name="T3" fmla="*/ 85 h 715"/>
                <a:gd name="T4" fmla="*/ 10 w 425"/>
                <a:gd name="T5" fmla="*/ 119 h 715"/>
                <a:gd name="T6" fmla="*/ 16 w 425"/>
                <a:gd name="T7" fmla="*/ 150 h 715"/>
                <a:gd name="T8" fmla="*/ 2 w 425"/>
                <a:gd name="T9" fmla="*/ 206 h 715"/>
                <a:gd name="T10" fmla="*/ 20 w 425"/>
                <a:gd name="T11" fmla="*/ 241 h 715"/>
                <a:gd name="T12" fmla="*/ 23 w 425"/>
                <a:gd name="T13" fmla="*/ 264 h 715"/>
                <a:gd name="T14" fmla="*/ 36 w 425"/>
                <a:gd name="T15" fmla="*/ 282 h 715"/>
                <a:gd name="T16" fmla="*/ 44 w 425"/>
                <a:gd name="T17" fmla="*/ 276 h 715"/>
                <a:gd name="T18" fmla="*/ 70 w 425"/>
                <a:gd name="T19" fmla="*/ 277 h 715"/>
                <a:gd name="T20" fmla="*/ 69 w 425"/>
                <a:gd name="T21" fmla="*/ 278 h 715"/>
                <a:gd name="T22" fmla="*/ 69 w 425"/>
                <a:gd name="T23" fmla="*/ 279 h 715"/>
                <a:gd name="T24" fmla="*/ 52 w 425"/>
                <a:gd name="T25" fmla="*/ 280 h 715"/>
                <a:gd name="T26" fmla="*/ 51 w 425"/>
                <a:gd name="T27" fmla="*/ 308 h 715"/>
                <a:gd name="T28" fmla="*/ 43 w 425"/>
                <a:gd name="T29" fmla="*/ 295 h 715"/>
                <a:gd name="T30" fmla="*/ 40 w 425"/>
                <a:gd name="T31" fmla="*/ 305 h 715"/>
                <a:gd name="T32" fmla="*/ 39 w 425"/>
                <a:gd name="T33" fmla="*/ 321 h 715"/>
                <a:gd name="T34" fmla="*/ 54 w 425"/>
                <a:gd name="T35" fmla="*/ 347 h 715"/>
                <a:gd name="T36" fmla="*/ 60 w 425"/>
                <a:gd name="T37" fmla="*/ 359 h 715"/>
                <a:gd name="T38" fmla="*/ 55 w 425"/>
                <a:gd name="T39" fmla="*/ 372 h 715"/>
                <a:gd name="T40" fmla="*/ 51 w 425"/>
                <a:gd name="T41" fmla="*/ 393 h 715"/>
                <a:gd name="T42" fmla="*/ 77 w 425"/>
                <a:gd name="T43" fmla="*/ 458 h 715"/>
                <a:gd name="T44" fmla="*/ 92 w 425"/>
                <a:gd name="T45" fmla="*/ 493 h 715"/>
                <a:gd name="T46" fmla="*/ 103 w 425"/>
                <a:gd name="T47" fmla="*/ 534 h 715"/>
                <a:gd name="T48" fmla="*/ 165 w 425"/>
                <a:gd name="T49" fmla="*/ 573 h 715"/>
                <a:gd name="T50" fmla="*/ 200 w 425"/>
                <a:gd name="T51" fmla="*/ 609 h 715"/>
                <a:gd name="T52" fmla="*/ 239 w 425"/>
                <a:gd name="T53" fmla="*/ 656 h 715"/>
                <a:gd name="T54" fmla="*/ 238 w 425"/>
                <a:gd name="T55" fmla="*/ 670 h 715"/>
                <a:gd name="T56" fmla="*/ 371 w 425"/>
                <a:gd name="T57" fmla="*/ 715 h 715"/>
                <a:gd name="T58" fmla="*/ 388 w 425"/>
                <a:gd name="T59" fmla="*/ 695 h 715"/>
                <a:gd name="T60" fmla="*/ 382 w 425"/>
                <a:gd name="T61" fmla="*/ 674 h 715"/>
                <a:gd name="T62" fmla="*/ 405 w 425"/>
                <a:gd name="T63" fmla="*/ 631 h 715"/>
                <a:gd name="T64" fmla="*/ 413 w 425"/>
                <a:gd name="T65" fmla="*/ 578 h 715"/>
                <a:gd name="T66" fmla="*/ 346 w 425"/>
                <a:gd name="T67" fmla="*/ 475 h 715"/>
                <a:gd name="T68" fmla="*/ 185 w 425"/>
                <a:gd name="T69" fmla="*/ 247 h 715"/>
                <a:gd name="T70" fmla="*/ 185 w 425"/>
                <a:gd name="T71" fmla="*/ 244 h 715"/>
                <a:gd name="T72" fmla="*/ 32 w 425"/>
                <a:gd name="T73"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5" h="715">
                  <a:moveTo>
                    <a:pt x="32" y="0"/>
                  </a:moveTo>
                  <a:cubicBezTo>
                    <a:pt x="31" y="5"/>
                    <a:pt x="30" y="10"/>
                    <a:pt x="29" y="15"/>
                  </a:cubicBezTo>
                  <a:cubicBezTo>
                    <a:pt x="25" y="35"/>
                    <a:pt x="23" y="40"/>
                    <a:pt x="20" y="52"/>
                  </a:cubicBezTo>
                  <a:cubicBezTo>
                    <a:pt x="18" y="65"/>
                    <a:pt x="5" y="75"/>
                    <a:pt x="1" y="85"/>
                  </a:cubicBezTo>
                  <a:cubicBezTo>
                    <a:pt x="1" y="87"/>
                    <a:pt x="0" y="89"/>
                    <a:pt x="0" y="91"/>
                  </a:cubicBezTo>
                  <a:cubicBezTo>
                    <a:pt x="0" y="98"/>
                    <a:pt x="5" y="106"/>
                    <a:pt x="10" y="119"/>
                  </a:cubicBezTo>
                  <a:cubicBezTo>
                    <a:pt x="15" y="133"/>
                    <a:pt x="16" y="135"/>
                    <a:pt x="16" y="142"/>
                  </a:cubicBezTo>
                  <a:cubicBezTo>
                    <a:pt x="16" y="144"/>
                    <a:pt x="16" y="147"/>
                    <a:pt x="16" y="150"/>
                  </a:cubicBezTo>
                  <a:cubicBezTo>
                    <a:pt x="15" y="164"/>
                    <a:pt x="7" y="171"/>
                    <a:pt x="7" y="178"/>
                  </a:cubicBezTo>
                  <a:cubicBezTo>
                    <a:pt x="7" y="184"/>
                    <a:pt x="2" y="198"/>
                    <a:pt x="2" y="206"/>
                  </a:cubicBezTo>
                  <a:cubicBezTo>
                    <a:pt x="2" y="208"/>
                    <a:pt x="2" y="209"/>
                    <a:pt x="2" y="210"/>
                  </a:cubicBezTo>
                  <a:cubicBezTo>
                    <a:pt x="5" y="216"/>
                    <a:pt x="14" y="230"/>
                    <a:pt x="20" y="241"/>
                  </a:cubicBezTo>
                  <a:cubicBezTo>
                    <a:pt x="23" y="247"/>
                    <a:pt x="24" y="251"/>
                    <a:pt x="24" y="255"/>
                  </a:cubicBezTo>
                  <a:cubicBezTo>
                    <a:pt x="24" y="259"/>
                    <a:pt x="23" y="262"/>
                    <a:pt x="23" y="264"/>
                  </a:cubicBezTo>
                  <a:cubicBezTo>
                    <a:pt x="23" y="267"/>
                    <a:pt x="28" y="276"/>
                    <a:pt x="33" y="281"/>
                  </a:cubicBezTo>
                  <a:cubicBezTo>
                    <a:pt x="34" y="282"/>
                    <a:pt x="35" y="282"/>
                    <a:pt x="36" y="282"/>
                  </a:cubicBezTo>
                  <a:cubicBezTo>
                    <a:pt x="39" y="282"/>
                    <a:pt x="41" y="281"/>
                    <a:pt x="42" y="279"/>
                  </a:cubicBezTo>
                  <a:cubicBezTo>
                    <a:pt x="43" y="278"/>
                    <a:pt x="44" y="277"/>
                    <a:pt x="44" y="276"/>
                  </a:cubicBezTo>
                  <a:cubicBezTo>
                    <a:pt x="44" y="272"/>
                    <a:pt x="54" y="267"/>
                    <a:pt x="54" y="267"/>
                  </a:cubicBezTo>
                  <a:cubicBezTo>
                    <a:pt x="54" y="267"/>
                    <a:pt x="70" y="274"/>
                    <a:pt x="70" y="277"/>
                  </a:cubicBezTo>
                  <a:cubicBezTo>
                    <a:pt x="69" y="278"/>
                    <a:pt x="69" y="278"/>
                    <a:pt x="69" y="278"/>
                  </a:cubicBezTo>
                  <a:cubicBezTo>
                    <a:pt x="69" y="278"/>
                    <a:pt x="69" y="278"/>
                    <a:pt x="69" y="278"/>
                  </a:cubicBezTo>
                  <a:cubicBezTo>
                    <a:pt x="69" y="278"/>
                    <a:pt x="69" y="278"/>
                    <a:pt x="69" y="278"/>
                  </a:cubicBezTo>
                  <a:cubicBezTo>
                    <a:pt x="69" y="279"/>
                    <a:pt x="69" y="279"/>
                    <a:pt x="69" y="279"/>
                  </a:cubicBezTo>
                  <a:cubicBezTo>
                    <a:pt x="66" y="279"/>
                    <a:pt x="61" y="276"/>
                    <a:pt x="55" y="276"/>
                  </a:cubicBezTo>
                  <a:cubicBezTo>
                    <a:pt x="53" y="276"/>
                    <a:pt x="52" y="277"/>
                    <a:pt x="52" y="280"/>
                  </a:cubicBezTo>
                  <a:cubicBezTo>
                    <a:pt x="52" y="285"/>
                    <a:pt x="55" y="293"/>
                    <a:pt x="55" y="298"/>
                  </a:cubicBezTo>
                  <a:cubicBezTo>
                    <a:pt x="55" y="306"/>
                    <a:pt x="51" y="308"/>
                    <a:pt x="51" y="308"/>
                  </a:cubicBezTo>
                  <a:cubicBezTo>
                    <a:pt x="51" y="308"/>
                    <a:pt x="51" y="308"/>
                    <a:pt x="51" y="308"/>
                  </a:cubicBezTo>
                  <a:cubicBezTo>
                    <a:pt x="51" y="306"/>
                    <a:pt x="48" y="295"/>
                    <a:pt x="43" y="295"/>
                  </a:cubicBezTo>
                  <a:cubicBezTo>
                    <a:pt x="43" y="295"/>
                    <a:pt x="43" y="295"/>
                    <a:pt x="43" y="295"/>
                  </a:cubicBezTo>
                  <a:cubicBezTo>
                    <a:pt x="40" y="296"/>
                    <a:pt x="40" y="300"/>
                    <a:pt x="40" y="305"/>
                  </a:cubicBezTo>
                  <a:cubicBezTo>
                    <a:pt x="40" y="307"/>
                    <a:pt x="40" y="310"/>
                    <a:pt x="40" y="313"/>
                  </a:cubicBezTo>
                  <a:cubicBezTo>
                    <a:pt x="40" y="315"/>
                    <a:pt x="40" y="318"/>
                    <a:pt x="39" y="321"/>
                  </a:cubicBezTo>
                  <a:cubicBezTo>
                    <a:pt x="39" y="322"/>
                    <a:pt x="39" y="323"/>
                    <a:pt x="39" y="324"/>
                  </a:cubicBezTo>
                  <a:cubicBezTo>
                    <a:pt x="39" y="331"/>
                    <a:pt x="44" y="335"/>
                    <a:pt x="54" y="347"/>
                  </a:cubicBezTo>
                  <a:cubicBezTo>
                    <a:pt x="60" y="354"/>
                    <a:pt x="61" y="357"/>
                    <a:pt x="61" y="358"/>
                  </a:cubicBezTo>
                  <a:cubicBezTo>
                    <a:pt x="61" y="359"/>
                    <a:pt x="60" y="359"/>
                    <a:pt x="60" y="359"/>
                  </a:cubicBezTo>
                  <a:cubicBezTo>
                    <a:pt x="60" y="359"/>
                    <a:pt x="60" y="359"/>
                    <a:pt x="60" y="359"/>
                  </a:cubicBezTo>
                  <a:cubicBezTo>
                    <a:pt x="60" y="359"/>
                    <a:pt x="60" y="364"/>
                    <a:pt x="55" y="372"/>
                  </a:cubicBezTo>
                  <a:cubicBezTo>
                    <a:pt x="51" y="377"/>
                    <a:pt x="50" y="382"/>
                    <a:pt x="50" y="386"/>
                  </a:cubicBezTo>
                  <a:cubicBezTo>
                    <a:pt x="50" y="389"/>
                    <a:pt x="51" y="391"/>
                    <a:pt x="51" y="393"/>
                  </a:cubicBezTo>
                  <a:cubicBezTo>
                    <a:pt x="52" y="399"/>
                    <a:pt x="55" y="411"/>
                    <a:pt x="60" y="424"/>
                  </a:cubicBezTo>
                  <a:cubicBezTo>
                    <a:pt x="65" y="437"/>
                    <a:pt x="75" y="448"/>
                    <a:pt x="77" y="458"/>
                  </a:cubicBezTo>
                  <a:cubicBezTo>
                    <a:pt x="79" y="468"/>
                    <a:pt x="85" y="476"/>
                    <a:pt x="90" y="483"/>
                  </a:cubicBezTo>
                  <a:cubicBezTo>
                    <a:pt x="91" y="486"/>
                    <a:pt x="92" y="489"/>
                    <a:pt x="92" y="493"/>
                  </a:cubicBezTo>
                  <a:cubicBezTo>
                    <a:pt x="92" y="502"/>
                    <a:pt x="90" y="512"/>
                    <a:pt x="90" y="519"/>
                  </a:cubicBezTo>
                  <a:cubicBezTo>
                    <a:pt x="90" y="530"/>
                    <a:pt x="92" y="529"/>
                    <a:pt x="103" y="534"/>
                  </a:cubicBezTo>
                  <a:cubicBezTo>
                    <a:pt x="114" y="538"/>
                    <a:pt x="114" y="535"/>
                    <a:pt x="133" y="548"/>
                  </a:cubicBezTo>
                  <a:cubicBezTo>
                    <a:pt x="152" y="561"/>
                    <a:pt x="138" y="560"/>
                    <a:pt x="165" y="573"/>
                  </a:cubicBezTo>
                  <a:cubicBezTo>
                    <a:pt x="192" y="587"/>
                    <a:pt x="176" y="577"/>
                    <a:pt x="188" y="588"/>
                  </a:cubicBezTo>
                  <a:cubicBezTo>
                    <a:pt x="199" y="598"/>
                    <a:pt x="196" y="598"/>
                    <a:pt x="200" y="609"/>
                  </a:cubicBezTo>
                  <a:cubicBezTo>
                    <a:pt x="205" y="621"/>
                    <a:pt x="214" y="621"/>
                    <a:pt x="227" y="634"/>
                  </a:cubicBezTo>
                  <a:cubicBezTo>
                    <a:pt x="237" y="644"/>
                    <a:pt x="239" y="648"/>
                    <a:pt x="239" y="656"/>
                  </a:cubicBezTo>
                  <a:cubicBezTo>
                    <a:pt x="239" y="659"/>
                    <a:pt x="238" y="663"/>
                    <a:pt x="238" y="668"/>
                  </a:cubicBezTo>
                  <a:cubicBezTo>
                    <a:pt x="238" y="670"/>
                    <a:pt x="238" y="670"/>
                    <a:pt x="238" y="670"/>
                  </a:cubicBezTo>
                  <a:cubicBezTo>
                    <a:pt x="238" y="686"/>
                    <a:pt x="246" y="704"/>
                    <a:pt x="246" y="704"/>
                  </a:cubicBezTo>
                  <a:cubicBezTo>
                    <a:pt x="371" y="715"/>
                    <a:pt x="371" y="715"/>
                    <a:pt x="371" y="715"/>
                  </a:cubicBezTo>
                  <a:cubicBezTo>
                    <a:pt x="394" y="707"/>
                    <a:pt x="394" y="707"/>
                    <a:pt x="394" y="707"/>
                  </a:cubicBezTo>
                  <a:cubicBezTo>
                    <a:pt x="388" y="695"/>
                    <a:pt x="388" y="695"/>
                    <a:pt x="388" y="695"/>
                  </a:cubicBezTo>
                  <a:cubicBezTo>
                    <a:pt x="388" y="695"/>
                    <a:pt x="387" y="690"/>
                    <a:pt x="385" y="686"/>
                  </a:cubicBezTo>
                  <a:cubicBezTo>
                    <a:pt x="384" y="683"/>
                    <a:pt x="382" y="677"/>
                    <a:pt x="382" y="674"/>
                  </a:cubicBezTo>
                  <a:cubicBezTo>
                    <a:pt x="382" y="668"/>
                    <a:pt x="397" y="658"/>
                    <a:pt x="401" y="655"/>
                  </a:cubicBezTo>
                  <a:cubicBezTo>
                    <a:pt x="401" y="651"/>
                    <a:pt x="401" y="633"/>
                    <a:pt x="405" y="631"/>
                  </a:cubicBezTo>
                  <a:cubicBezTo>
                    <a:pt x="411" y="626"/>
                    <a:pt x="419" y="621"/>
                    <a:pt x="425" y="615"/>
                  </a:cubicBezTo>
                  <a:cubicBezTo>
                    <a:pt x="423" y="610"/>
                    <a:pt x="415" y="580"/>
                    <a:pt x="413" y="578"/>
                  </a:cubicBezTo>
                  <a:cubicBezTo>
                    <a:pt x="410" y="576"/>
                    <a:pt x="408" y="569"/>
                    <a:pt x="408" y="563"/>
                  </a:cubicBezTo>
                  <a:cubicBezTo>
                    <a:pt x="346" y="475"/>
                    <a:pt x="346" y="475"/>
                    <a:pt x="346" y="475"/>
                  </a:cubicBezTo>
                  <a:cubicBezTo>
                    <a:pt x="262" y="354"/>
                    <a:pt x="262" y="354"/>
                    <a:pt x="262" y="354"/>
                  </a:cubicBezTo>
                  <a:cubicBezTo>
                    <a:pt x="185" y="247"/>
                    <a:pt x="185" y="247"/>
                    <a:pt x="185" y="247"/>
                  </a:cubicBezTo>
                  <a:cubicBezTo>
                    <a:pt x="185" y="244"/>
                    <a:pt x="185" y="244"/>
                    <a:pt x="185" y="244"/>
                  </a:cubicBezTo>
                  <a:cubicBezTo>
                    <a:pt x="185" y="244"/>
                    <a:pt x="185" y="244"/>
                    <a:pt x="185" y="244"/>
                  </a:cubicBezTo>
                  <a:cubicBezTo>
                    <a:pt x="231" y="49"/>
                    <a:pt x="231" y="49"/>
                    <a:pt x="231" y="49"/>
                  </a:cubicBezTo>
                  <a:cubicBezTo>
                    <a:pt x="169" y="35"/>
                    <a:pt x="81" y="13"/>
                    <a:pt x="32" y="0"/>
                  </a:cubicBez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87" name="Freeform 26">
              <a:extLst>
                <a:ext uri="{FF2B5EF4-FFF2-40B4-BE49-F238E27FC236}">
                  <a16:creationId xmlns:a16="http://schemas.microsoft.com/office/drawing/2014/main" id="{7D617195-E5A1-9260-0184-D9FC6525C739}"/>
                </a:ext>
              </a:extLst>
            </p:cNvPr>
            <p:cNvSpPr>
              <a:spLocks/>
            </p:cNvSpPr>
            <p:nvPr/>
          </p:nvSpPr>
          <p:spPr bwMode="auto">
            <a:xfrm>
              <a:off x="1683263" y="3819985"/>
              <a:ext cx="981296" cy="1148721"/>
            </a:xfrm>
            <a:custGeom>
              <a:avLst/>
              <a:gdLst>
                <a:gd name="T0" fmla="*/ 98 w 355"/>
                <a:gd name="T1" fmla="*/ 0 h 414"/>
                <a:gd name="T2" fmla="*/ 98 w 355"/>
                <a:gd name="T3" fmla="*/ 5 h 414"/>
                <a:gd name="T4" fmla="*/ 92 w 355"/>
                <a:gd name="T5" fmla="*/ 32 h 414"/>
                <a:gd name="T6" fmla="*/ 86 w 355"/>
                <a:gd name="T7" fmla="*/ 57 h 414"/>
                <a:gd name="T8" fmla="*/ 83 w 355"/>
                <a:gd name="T9" fmla="*/ 60 h 414"/>
                <a:gd name="T10" fmla="*/ 77 w 355"/>
                <a:gd name="T11" fmla="*/ 58 h 414"/>
                <a:gd name="T12" fmla="*/ 62 w 355"/>
                <a:gd name="T13" fmla="*/ 52 h 414"/>
                <a:gd name="T14" fmla="*/ 51 w 355"/>
                <a:gd name="T15" fmla="*/ 54 h 414"/>
                <a:gd name="T16" fmla="*/ 52 w 355"/>
                <a:gd name="T17" fmla="*/ 108 h 414"/>
                <a:gd name="T18" fmla="*/ 42 w 355"/>
                <a:gd name="T19" fmla="*/ 118 h 414"/>
                <a:gd name="T20" fmla="*/ 42 w 355"/>
                <a:gd name="T21" fmla="*/ 119 h 414"/>
                <a:gd name="T22" fmla="*/ 42 w 355"/>
                <a:gd name="T23" fmla="*/ 120 h 414"/>
                <a:gd name="T24" fmla="*/ 42 w 355"/>
                <a:gd name="T25" fmla="*/ 120 h 414"/>
                <a:gd name="T26" fmla="*/ 59 w 355"/>
                <a:gd name="T27" fmla="*/ 174 h 414"/>
                <a:gd name="T28" fmla="*/ 37 w 355"/>
                <a:gd name="T29" fmla="*/ 193 h 414"/>
                <a:gd name="T30" fmla="*/ 33 w 355"/>
                <a:gd name="T31" fmla="*/ 217 h 414"/>
                <a:gd name="T32" fmla="*/ 24 w 355"/>
                <a:gd name="T33" fmla="*/ 224 h 414"/>
                <a:gd name="T34" fmla="*/ 17 w 355"/>
                <a:gd name="T35" fmla="*/ 232 h 414"/>
                <a:gd name="T36" fmla="*/ 22 w 355"/>
                <a:gd name="T37" fmla="*/ 250 h 414"/>
                <a:gd name="T38" fmla="*/ 29 w 355"/>
                <a:gd name="T39" fmla="*/ 267 h 414"/>
                <a:gd name="T40" fmla="*/ 27 w 355"/>
                <a:gd name="T41" fmla="*/ 270 h 414"/>
                <a:gd name="T42" fmla="*/ 3 w 355"/>
                <a:gd name="T43" fmla="*/ 278 h 414"/>
                <a:gd name="T44" fmla="*/ 0 w 355"/>
                <a:gd name="T45" fmla="*/ 290 h 414"/>
                <a:gd name="T46" fmla="*/ 201 w 355"/>
                <a:gd name="T47" fmla="*/ 402 h 414"/>
                <a:gd name="T48" fmla="*/ 202 w 355"/>
                <a:gd name="T49" fmla="*/ 402 h 414"/>
                <a:gd name="T50" fmla="*/ 202 w 355"/>
                <a:gd name="T51" fmla="*/ 402 h 414"/>
                <a:gd name="T52" fmla="*/ 202 w 355"/>
                <a:gd name="T53" fmla="*/ 402 h 414"/>
                <a:gd name="T54" fmla="*/ 202 w 355"/>
                <a:gd name="T55" fmla="*/ 402 h 414"/>
                <a:gd name="T56" fmla="*/ 202 w 355"/>
                <a:gd name="T57" fmla="*/ 402 h 414"/>
                <a:gd name="T58" fmla="*/ 202 w 355"/>
                <a:gd name="T59" fmla="*/ 402 h 414"/>
                <a:gd name="T60" fmla="*/ 202 w 355"/>
                <a:gd name="T61" fmla="*/ 402 h 414"/>
                <a:gd name="T62" fmla="*/ 202 w 355"/>
                <a:gd name="T63" fmla="*/ 402 h 414"/>
                <a:gd name="T64" fmla="*/ 202 w 355"/>
                <a:gd name="T65" fmla="*/ 402 h 414"/>
                <a:gd name="T66" fmla="*/ 202 w 355"/>
                <a:gd name="T67" fmla="*/ 402 h 414"/>
                <a:gd name="T68" fmla="*/ 202 w 355"/>
                <a:gd name="T69" fmla="*/ 402 h 414"/>
                <a:gd name="T70" fmla="*/ 226 w 355"/>
                <a:gd name="T71" fmla="*/ 405 h 414"/>
                <a:gd name="T72" fmla="*/ 227 w 355"/>
                <a:gd name="T73" fmla="*/ 405 h 414"/>
                <a:gd name="T74" fmla="*/ 228 w 355"/>
                <a:gd name="T75" fmla="*/ 405 h 414"/>
                <a:gd name="T76" fmla="*/ 229 w 355"/>
                <a:gd name="T77" fmla="*/ 405 h 414"/>
                <a:gd name="T78" fmla="*/ 230 w 355"/>
                <a:gd name="T79" fmla="*/ 405 h 414"/>
                <a:gd name="T80" fmla="*/ 308 w 355"/>
                <a:gd name="T81" fmla="*/ 414 h 414"/>
                <a:gd name="T82" fmla="*/ 355 w 355"/>
                <a:gd name="T83" fmla="*/ 38 h 414"/>
                <a:gd name="T84" fmla="*/ 227 w 355"/>
                <a:gd name="T85" fmla="*/ 19 h 414"/>
                <a:gd name="T86" fmla="*/ 98 w 355"/>
                <a:gd name="T8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5" h="414">
                  <a:moveTo>
                    <a:pt x="98" y="0"/>
                  </a:moveTo>
                  <a:cubicBezTo>
                    <a:pt x="98" y="3"/>
                    <a:pt x="98" y="5"/>
                    <a:pt x="98" y="5"/>
                  </a:cubicBezTo>
                  <a:cubicBezTo>
                    <a:pt x="98" y="7"/>
                    <a:pt x="95" y="20"/>
                    <a:pt x="92" y="32"/>
                  </a:cubicBezTo>
                  <a:cubicBezTo>
                    <a:pt x="89" y="45"/>
                    <a:pt x="86" y="57"/>
                    <a:pt x="86" y="57"/>
                  </a:cubicBezTo>
                  <a:cubicBezTo>
                    <a:pt x="86" y="59"/>
                    <a:pt x="85" y="60"/>
                    <a:pt x="83" y="60"/>
                  </a:cubicBezTo>
                  <a:cubicBezTo>
                    <a:pt x="81" y="60"/>
                    <a:pt x="79" y="59"/>
                    <a:pt x="77" y="58"/>
                  </a:cubicBezTo>
                  <a:cubicBezTo>
                    <a:pt x="72" y="57"/>
                    <a:pt x="67" y="54"/>
                    <a:pt x="62" y="52"/>
                  </a:cubicBezTo>
                  <a:cubicBezTo>
                    <a:pt x="51" y="54"/>
                    <a:pt x="51" y="54"/>
                    <a:pt x="51" y="54"/>
                  </a:cubicBezTo>
                  <a:cubicBezTo>
                    <a:pt x="52" y="65"/>
                    <a:pt x="52" y="105"/>
                    <a:pt x="52" y="108"/>
                  </a:cubicBezTo>
                  <a:cubicBezTo>
                    <a:pt x="52" y="114"/>
                    <a:pt x="46" y="115"/>
                    <a:pt x="42" y="118"/>
                  </a:cubicBezTo>
                  <a:cubicBezTo>
                    <a:pt x="42" y="119"/>
                    <a:pt x="42" y="119"/>
                    <a:pt x="42" y="119"/>
                  </a:cubicBezTo>
                  <a:cubicBezTo>
                    <a:pt x="42" y="120"/>
                    <a:pt x="42" y="120"/>
                    <a:pt x="42" y="120"/>
                  </a:cubicBezTo>
                  <a:cubicBezTo>
                    <a:pt x="42" y="120"/>
                    <a:pt x="42" y="120"/>
                    <a:pt x="42" y="120"/>
                  </a:cubicBezTo>
                  <a:cubicBezTo>
                    <a:pt x="42" y="130"/>
                    <a:pt x="59" y="163"/>
                    <a:pt x="59" y="174"/>
                  </a:cubicBezTo>
                  <a:cubicBezTo>
                    <a:pt x="59" y="179"/>
                    <a:pt x="39" y="191"/>
                    <a:pt x="37" y="193"/>
                  </a:cubicBezTo>
                  <a:cubicBezTo>
                    <a:pt x="35" y="199"/>
                    <a:pt x="36" y="216"/>
                    <a:pt x="33" y="217"/>
                  </a:cubicBezTo>
                  <a:cubicBezTo>
                    <a:pt x="33" y="217"/>
                    <a:pt x="29" y="220"/>
                    <a:pt x="24" y="224"/>
                  </a:cubicBezTo>
                  <a:cubicBezTo>
                    <a:pt x="22" y="226"/>
                    <a:pt x="19" y="229"/>
                    <a:pt x="17" y="232"/>
                  </a:cubicBezTo>
                  <a:cubicBezTo>
                    <a:pt x="17" y="238"/>
                    <a:pt x="20" y="245"/>
                    <a:pt x="22" y="250"/>
                  </a:cubicBezTo>
                  <a:cubicBezTo>
                    <a:pt x="25" y="256"/>
                    <a:pt x="29" y="263"/>
                    <a:pt x="29" y="267"/>
                  </a:cubicBezTo>
                  <a:cubicBezTo>
                    <a:pt x="29" y="268"/>
                    <a:pt x="28" y="270"/>
                    <a:pt x="27" y="270"/>
                  </a:cubicBezTo>
                  <a:cubicBezTo>
                    <a:pt x="3" y="278"/>
                    <a:pt x="3" y="278"/>
                    <a:pt x="3" y="278"/>
                  </a:cubicBezTo>
                  <a:cubicBezTo>
                    <a:pt x="0" y="290"/>
                    <a:pt x="0" y="290"/>
                    <a:pt x="0" y="290"/>
                  </a:cubicBezTo>
                  <a:cubicBezTo>
                    <a:pt x="0" y="290"/>
                    <a:pt x="198" y="401"/>
                    <a:pt x="201"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2" y="402"/>
                    <a:pt x="202" y="402"/>
                    <a:pt x="202" y="402"/>
                  </a:cubicBezTo>
                  <a:cubicBezTo>
                    <a:pt x="205" y="403"/>
                    <a:pt x="214" y="403"/>
                    <a:pt x="226" y="405"/>
                  </a:cubicBezTo>
                  <a:cubicBezTo>
                    <a:pt x="227" y="405"/>
                    <a:pt x="227" y="405"/>
                    <a:pt x="227" y="405"/>
                  </a:cubicBezTo>
                  <a:cubicBezTo>
                    <a:pt x="228" y="405"/>
                    <a:pt x="228" y="405"/>
                    <a:pt x="228" y="405"/>
                  </a:cubicBezTo>
                  <a:cubicBezTo>
                    <a:pt x="229" y="405"/>
                    <a:pt x="229" y="405"/>
                    <a:pt x="229" y="405"/>
                  </a:cubicBezTo>
                  <a:cubicBezTo>
                    <a:pt x="230" y="405"/>
                    <a:pt x="230" y="405"/>
                    <a:pt x="230" y="405"/>
                  </a:cubicBezTo>
                  <a:cubicBezTo>
                    <a:pt x="253" y="407"/>
                    <a:pt x="286" y="411"/>
                    <a:pt x="308" y="414"/>
                  </a:cubicBezTo>
                  <a:cubicBezTo>
                    <a:pt x="355" y="38"/>
                    <a:pt x="355" y="38"/>
                    <a:pt x="355" y="38"/>
                  </a:cubicBezTo>
                  <a:cubicBezTo>
                    <a:pt x="227" y="19"/>
                    <a:pt x="227" y="19"/>
                    <a:pt x="227" y="19"/>
                  </a:cubicBezTo>
                  <a:cubicBezTo>
                    <a:pt x="168" y="10"/>
                    <a:pt x="109" y="2"/>
                    <a:pt x="98"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88" name="Freeform 27">
              <a:extLst>
                <a:ext uri="{FF2B5EF4-FFF2-40B4-BE49-F238E27FC236}">
                  <a16:creationId xmlns:a16="http://schemas.microsoft.com/office/drawing/2014/main" id="{1AD16FC3-278E-0E74-16D8-8EF2C2F7052B}"/>
                </a:ext>
              </a:extLst>
            </p:cNvPr>
            <p:cNvSpPr>
              <a:spLocks/>
            </p:cNvSpPr>
            <p:nvPr/>
          </p:nvSpPr>
          <p:spPr bwMode="auto">
            <a:xfrm>
              <a:off x="4910842" y="4751674"/>
              <a:ext cx="827823" cy="708456"/>
            </a:xfrm>
            <a:custGeom>
              <a:avLst/>
              <a:gdLst>
                <a:gd name="T0" fmla="*/ 2 w 299"/>
                <a:gd name="T1" fmla="*/ 5 h 255"/>
                <a:gd name="T2" fmla="*/ 0 w 299"/>
                <a:gd name="T3" fmla="*/ 49 h 255"/>
                <a:gd name="T4" fmla="*/ 33 w 299"/>
                <a:gd name="T5" fmla="*/ 130 h 255"/>
                <a:gd name="T6" fmla="*/ 27 w 299"/>
                <a:gd name="T7" fmla="*/ 175 h 255"/>
                <a:gd name="T8" fmla="*/ 24 w 299"/>
                <a:gd name="T9" fmla="*/ 222 h 255"/>
                <a:gd name="T10" fmla="*/ 45 w 299"/>
                <a:gd name="T11" fmla="*/ 206 h 255"/>
                <a:gd name="T12" fmla="*/ 46 w 299"/>
                <a:gd name="T13" fmla="*/ 206 h 255"/>
                <a:gd name="T14" fmla="*/ 46 w 299"/>
                <a:gd name="T15" fmla="*/ 215 h 255"/>
                <a:gd name="T16" fmla="*/ 47 w 299"/>
                <a:gd name="T17" fmla="*/ 218 h 255"/>
                <a:gd name="T18" fmla="*/ 69 w 299"/>
                <a:gd name="T19" fmla="*/ 224 h 255"/>
                <a:gd name="T20" fmla="*/ 100 w 299"/>
                <a:gd name="T21" fmla="*/ 234 h 255"/>
                <a:gd name="T22" fmla="*/ 121 w 299"/>
                <a:gd name="T23" fmla="*/ 216 h 255"/>
                <a:gd name="T24" fmla="*/ 128 w 299"/>
                <a:gd name="T25" fmla="*/ 214 h 255"/>
                <a:gd name="T26" fmla="*/ 134 w 299"/>
                <a:gd name="T27" fmla="*/ 215 h 255"/>
                <a:gd name="T28" fmla="*/ 163 w 299"/>
                <a:gd name="T29" fmla="*/ 230 h 255"/>
                <a:gd name="T30" fmla="*/ 187 w 299"/>
                <a:gd name="T31" fmla="*/ 250 h 255"/>
                <a:gd name="T32" fmla="*/ 190 w 299"/>
                <a:gd name="T33" fmla="*/ 252 h 255"/>
                <a:gd name="T34" fmla="*/ 191 w 299"/>
                <a:gd name="T35" fmla="*/ 252 h 255"/>
                <a:gd name="T36" fmla="*/ 193 w 299"/>
                <a:gd name="T37" fmla="*/ 252 h 255"/>
                <a:gd name="T38" fmla="*/ 194 w 299"/>
                <a:gd name="T39" fmla="*/ 252 h 255"/>
                <a:gd name="T40" fmla="*/ 196 w 299"/>
                <a:gd name="T41" fmla="*/ 252 h 255"/>
                <a:gd name="T42" fmla="*/ 219 w 299"/>
                <a:gd name="T43" fmla="*/ 242 h 255"/>
                <a:gd name="T44" fmla="*/ 233 w 299"/>
                <a:gd name="T45" fmla="*/ 255 h 255"/>
                <a:gd name="T46" fmla="*/ 246 w 299"/>
                <a:gd name="T47" fmla="*/ 240 h 255"/>
                <a:gd name="T48" fmla="*/ 241 w 299"/>
                <a:gd name="T49" fmla="*/ 227 h 255"/>
                <a:gd name="T50" fmla="*/ 254 w 299"/>
                <a:gd name="T51" fmla="*/ 233 h 255"/>
                <a:gd name="T52" fmla="*/ 279 w 299"/>
                <a:gd name="T53" fmla="*/ 248 h 255"/>
                <a:gd name="T54" fmla="*/ 291 w 299"/>
                <a:gd name="T55" fmla="*/ 251 h 255"/>
                <a:gd name="T56" fmla="*/ 299 w 299"/>
                <a:gd name="T57" fmla="*/ 245 h 255"/>
                <a:gd name="T58" fmla="*/ 277 w 299"/>
                <a:gd name="T59" fmla="*/ 230 h 255"/>
                <a:gd name="T60" fmla="*/ 273 w 299"/>
                <a:gd name="T61" fmla="*/ 223 h 255"/>
                <a:gd name="T62" fmla="*/ 267 w 299"/>
                <a:gd name="T63" fmla="*/ 214 h 255"/>
                <a:gd name="T64" fmla="*/ 278 w 299"/>
                <a:gd name="T65" fmla="*/ 199 h 255"/>
                <a:gd name="T66" fmla="*/ 266 w 299"/>
                <a:gd name="T67" fmla="*/ 189 h 255"/>
                <a:gd name="T68" fmla="*/ 256 w 299"/>
                <a:gd name="T69" fmla="*/ 183 h 255"/>
                <a:gd name="T70" fmla="*/ 233 w 299"/>
                <a:gd name="T71" fmla="*/ 192 h 255"/>
                <a:gd name="T72" fmla="*/ 223 w 299"/>
                <a:gd name="T73" fmla="*/ 192 h 255"/>
                <a:gd name="T74" fmla="*/ 218 w 299"/>
                <a:gd name="T75" fmla="*/ 181 h 255"/>
                <a:gd name="T76" fmla="*/ 228 w 299"/>
                <a:gd name="T77" fmla="*/ 170 h 255"/>
                <a:gd name="T78" fmla="*/ 242 w 299"/>
                <a:gd name="T79" fmla="*/ 175 h 255"/>
                <a:gd name="T80" fmla="*/ 255 w 299"/>
                <a:gd name="T81" fmla="*/ 179 h 255"/>
                <a:gd name="T82" fmla="*/ 259 w 299"/>
                <a:gd name="T83" fmla="*/ 181 h 255"/>
                <a:gd name="T84" fmla="*/ 269 w 299"/>
                <a:gd name="T85" fmla="*/ 178 h 255"/>
                <a:gd name="T86" fmla="*/ 245 w 299"/>
                <a:gd name="T87" fmla="*/ 149 h 255"/>
                <a:gd name="T88" fmla="*/ 245 w 299"/>
                <a:gd name="T89" fmla="*/ 127 h 255"/>
                <a:gd name="T90" fmla="*/ 142 w 299"/>
                <a:gd name="T91" fmla="*/ 136 h 255"/>
                <a:gd name="T92" fmla="*/ 142 w 299"/>
                <a:gd name="T93" fmla="*/ 113 h 255"/>
                <a:gd name="T94" fmla="*/ 171 w 299"/>
                <a:gd name="T95" fmla="*/ 4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255">
                  <a:moveTo>
                    <a:pt x="163" y="0"/>
                  </a:moveTo>
                  <a:cubicBezTo>
                    <a:pt x="2" y="5"/>
                    <a:pt x="2" y="5"/>
                    <a:pt x="2" y="5"/>
                  </a:cubicBezTo>
                  <a:cubicBezTo>
                    <a:pt x="1" y="19"/>
                    <a:pt x="0" y="38"/>
                    <a:pt x="0" y="47"/>
                  </a:cubicBezTo>
                  <a:cubicBezTo>
                    <a:pt x="0" y="48"/>
                    <a:pt x="0" y="49"/>
                    <a:pt x="0" y="49"/>
                  </a:cubicBezTo>
                  <a:cubicBezTo>
                    <a:pt x="0" y="60"/>
                    <a:pt x="9" y="70"/>
                    <a:pt x="14" y="79"/>
                  </a:cubicBezTo>
                  <a:cubicBezTo>
                    <a:pt x="21" y="91"/>
                    <a:pt x="33" y="116"/>
                    <a:pt x="33" y="130"/>
                  </a:cubicBezTo>
                  <a:cubicBezTo>
                    <a:pt x="34" y="132"/>
                    <a:pt x="34" y="134"/>
                    <a:pt x="34" y="137"/>
                  </a:cubicBezTo>
                  <a:cubicBezTo>
                    <a:pt x="34" y="149"/>
                    <a:pt x="32" y="161"/>
                    <a:pt x="27" y="175"/>
                  </a:cubicBezTo>
                  <a:cubicBezTo>
                    <a:pt x="23" y="185"/>
                    <a:pt x="22" y="206"/>
                    <a:pt x="21" y="222"/>
                  </a:cubicBezTo>
                  <a:cubicBezTo>
                    <a:pt x="24" y="222"/>
                    <a:pt x="24" y="222"/>
                    <a:pt x="24" y="222"/>
                  </a:cubicBezTo>
                  <a:cubicBezTo>
                    <a:pt x="31" y="220"/>
                    <a:pt x="34" y="220"/>
                    <a:pt x="39" y="217"/>
                  </a:cubicBezTo>
                  <a:cubicBezTo>
                    <a:pt x="44" y="213"/>
                    <a:pt x="40" y="208"/>
                    <a:pt x="45" y="206"/>
                  </a:cubicBezTo>
                  <a:cubicBezTo>
                    <a:pt x="46" y="206"/>
                    <a:pt x="46" y="206"/>
                    <a:pt x="46" y="206"/>
                  </a:cubicBezTo>
                  <a:cubicBezTo>
                    <a:pt x="46" y="206"/>
                    <a:pt x="46" y="206"/>
                    <a:pt x="46" y="206"/>
                  </a:cubicBezTo>
                  <a:cubicBezTo>
                    <a:pt x="48" y="206"/>
                    <a:pt x="47" y="209"/>
                    <a:pt x="47" y="212"/>
                  </a:cubicBezTo>
                  <a:cubicBezTo>
                    <a:pt x="46" y="213"/>
                    <a:pt x="46" y="214"/>
                    <a:pt x="46" y="215"/>
                  </a:cubicBezTo>
                  <a:cubicBezTo>
                    <a:pt x="46" y="216"/>
                    <a:pt x="46" y="217"/>
                    <a:pt x="47" y="218"/>
                  </a:cubicBezTo>
                  <a:cubicBezTo>
                    <a:pt x="47" y="218"/>
                    <a:pt x="47" y="218"/>
                    <a:pt x="47" y="218"/>
                  </a:cubicBezTo>
                  <a:cubicBezTo>
                    <a:pt x="47" y="218"/>
                    <a:pt x="47" y="218"/>
                    <a:pt x="47" y="218"/>
                  </a:cubicBezTo>
                  <a:cubicBezTo>
                    <a:pt x="50" y="220"/>
                    <a:pt x="57" y="218"/>
                    <a:pt x="69" y="224"/>
                  </a:cubicBezTo>
                  <a:cubicBezTo>
                    <a:pt x="81" y="231"/>
                    <a:pt x="85" y="230"/>
                    <a:pt x="94" y="233"/>
                  </a:cubicBezTo>
                  <a:cubicBezTo>
                    <a:pt x="96" y="234"/>
                    <a:pt x="99" y="234"/>
                    <a:pt x="100" y="234"/>
                  </a:cubicBezTo>
                  <a:cubicBezTo>
                    <a:pt x="104" y="234"/>
                    <a:pt x="107" y="233"/>
                    <a:pt x="112" y="230"/>
                  </a:cubicBezTo>
                  <a:cubicBezTo>
                    <a:pt x="120" y="226"/>
                    <a:pt x="117" y="218"/>
                    <a:pt x="121" y="216"/>
                  </a:cubicBezTo>
                  <a:cubicBezTo>
                    <a:pt x="123" y="215"/>
                    <a:pt x="123" y="215"/>
                    <a:pt x="123" y="215"/>
                  </a:cubicBezTo>
                  <a:cubicBezTo>
                    <a:pt x="125" y="214"/>
                    <a:pt x="126" y="214"/>
                    <a:pt x="128" y="214"/>
                  </a:cubicBezTo>
                  <a:cubicBezTo>
                    <a:pt x="129" y="214"/>
                    <a:pt x="130" y="214"/>
                    <a:pt x="131" y="214"/>
                  </a:cubicBezTo>
                  <a:cubicBezTo>
                    <a:pt x="132" y="214"/>
                    <a:pt x="133" y="215"/>
                    <a:pt x="134" y="215"/>
                  </a:cubicBezTo>
                  <a:cubicBezTo>
                    <a:pt x="141" y="216"/>
                    <a:pt x="145" y="217"/>
                    <a:pt x="152" y="222"/>
                  </a:cubicBezTo>
                  <a:cubicBezTo>
                    <a:pt x="158" y="228"/>
                    <a:pt x="160" y="229"/>
                    <a:pt x="163" y="230"/>
                  </a:cubicBezTo>
                  <a:cubicBezTo>
                    <a:pt x="166" y="231"/>
                    <a:pt x="170" y="238"/>
                    <a:pt x="172" y="245"/>
                  </a:cubicBezTo>
                  <a:cubicBezTo>
                    <a:pt x="173" y="252"/>
                    <a:pt x="179" y="247"/>
                    <a:pt x="187" y="250"/>
                  </a:cubicBezTo>
                  <a:cubicBezTo>
                    <a:pt x="188" y="251"/>
                    <a:pt x="189" y="251"/>
                    <a:pt x="190" y="252"/>
                  </a:cubicBezTo>
                  <a:cubicBezTo>
                    <a:pt x="190" y="252"/>
                    <a:pt x="190" y="252"/>
                    <a:pt x="190" y="252"/>
                  </a:cubicBezTo>
                  <a:cubicBezTo>
                    <a:pt x="191" y="252"/>
                    <a:pt x="191" y="252"/>
                    <a:pt x="191" y="252"/>
                  </a:cubicBezTo>
                  <a:cubicBezTo>
                    <a:pt x="191" y="252"/>
                    <a:pt x="191" y="252"/>
                    <a:pt x="191" y="252"/>
                  </a:cubicBezTo>
                  <a:cubicBezTo>
                    <a:pt x="191" y="252"/>
                    <a:pt x="191" y="252"/>
                    <a:pt x="191" y="252"/>
                  </a:cubicBezTo>
                  <a:cubicBezTo>
                    <a:pt x="193" y="252"/>
                    <a:pt x="193" y="252"/>
                    <a:pt x="193" y="252"/>
                  </a:cubicBezTo>
                  <a:cubicBezTo>
                    <a:pt x="194" y="252"/>
                    <a:pt x="194" y="252"/>
                    <a:pt x="194" y="252"/>
                  </a:cubicBezTo>
                  <a:cubicBezTo>
                    <a:pt x="194" y="252"/>
                    <a:pt x="194" y="252"/>
                    <a:pt x="194" y="252"/>
                  </a:cubicBezTo>
                  <a:cubicBezTo>
                    <a:pt x="196" y="252"/>
                    <a:pt x="196" y="252"/>
                    <a:pt x="196" y="252"/>
                  </a:cubicBezTo>
                  <a:cubicBezTo>
                    <a:pt x="196" y="252"/>
                    <a:pt x="196" y="252"/>
                    <a:pt x="196" y="252"/>
                  </a:cubicBezTo>
                  <a:cubicBezTo>
                    <a:pt x="199" y="252"/>
                    <a:pt x="202" y="252"/>
                    <a:pt x="206" y="251"/>
                  </a:cubicBezTo>
                  <a:cubicBezTo>
                    <a:pt x="213" y="250"/>
                    <a:pt x="211" y="242"/>
                    <a:pt x="219" y="242"/>
                  </a:cubicBezTo>
                  <a:cubicBezTo>
                    <a:pt x="226" y="242"/>
                    <a:pt x="224" y="248"/>
                    <a:pt x="230" y="253"/>
                  </a:cubicBezTo>
                  <a:cubicBezTo>
                    <a:pt x="231" y="254"/>
                    <a:pt x="232" y="255"/>
                    <a:pt x="233" y="255"/>
                  </a:cubicBezTo>
                  <a:cubicBezTo>
                    <a:pt x="234" y="255"/>
                    <a:pt x="234" y="255"/>
                    <a:pt x="234" y="255"/>
                  </a:cubicBezTo>
                  <a:cubicBezTo>
                    <a:pt x="239" y="255"/>
                    <a:pt x="246" y="246"/>
                    <a:pt x="246" y="240"/>
                  </a:cubicBezTo>
                  <a:cubicBezTo>
                    <a:pt x="246" y="234"/>
                    <a:pt x="239" y="231"/>
                    <a:pt x="239" y="228"/>
                  </a:cubicBezTo>
                  <a:cubicBezTo>
                    <a:pt x="239" y="228"/>
                    <a:pt x="240" y="227"/>
                    <a:pt x="241" y="227"/>
                  </a:cubicBezTo>
                  <a:cubicBezTo>
                    <a:pt x="243" y="226"/>
                    <a:pt x="243" y="226"/>
                    <a:pt x="243" y="226"/>
                  </a:cubicBezTo>
                  <a:cubicBezTo>
                    <a:pt x="246" y="226"/>
                    <a:pt x="250" y="230"/>
                    <a:pt x="254" y="233"/>
                  </a:cubicBezTo>
                  <a:cubicBezTo>
                    <a:pt x="255" y="235"/>
                    <a:pt x="255" y="235"/>
                    <a:pt x="255" y="235"/>
                  </a:cubicBezTo>
                  <a:cubicBezTo>
                    <a:pt x="260" y="240"/>
                    <a:pt x="271" y="244"/>
                    <a:pt x="279" y="248"/>
                  </a:cubicBezTo>
                  <a:cubicBezTo>
                    <a:pt x="283" y="250"/>
                    <a:pt x="286" y="251"/>
                    <a:pt x="288" y="251"/>
                  </a:cubicBezTo>
                  <a:cubicBezTo>
                    <a:pt x="289" y="251"/>
                    <a:pt x="290" y="251"/>
                    <a:pt x="291" y="251"/>
                  </a:cubicBezTo>
                  <a:cubicBezTo>
                    <a:pt x="293" y="250"/>
                    <a:pt x="294" y="250"/>
                    <a:pt x="296" y="249"/>
                  </a:cubicBezTo>
                  <a:cubicBezTo>
                    <a:pt x="299" y="249"/>
                    <a:pt x="299" y="247"/>
                    <a:pt x="299" y="245"/>
                  </a:cubicBezTo>
                  <a:cubicBezTo>
                    <a:pt x="299" y="241"/>
                    <a:pt x="297" y="236"/>
                    <a:pt x="297" y="236"/>
                  </a:cubicBezTo>
                  <a:cubicBezTo>
                    <a:pt x="297" y="236"/>
                    <a:pt x="291" y="233"/>
                    <a:pt x="277" y="230"/>
                  </a:cubicBezTo>
                  <a:cubicBezTo>
                    <a:pt x="272" y="228"/>
                    <a:pt x="271" y="227"/>
                    <a:pt x="271" y="227"/>
                  </a:cubicBezTo>
                  <a:cubicBezTo>
                    <a:pt x="271" y="225"/>
                    <a:pt x="273" y="224"/>
                    <a:pt x="273" y="223"/>
                  </a:cubicBezTo>
                  <a:cubicBezTo>
                    <a:pt x="273" y="222"/>
                    <a:pt x="272" y="221"/>
                    <a:pt x="271" y="220"/>
                  </a:cubicBezTo>
                  <a:cubicBezTo>
                    <a:pt x="268" y="217"/>
                    <a:pt x="267" y="216"/>
                    <a:pt x="267" y="214"/>
                  </a:cubicBezTo>
                  <a:cubicBezTo>
                    <a:pt x="267" y="213"/>
                    <a:pt x="267" y="211"/>
                    <a:pt x="268" y="210"/>
                  </a:cubicBezTo>
                  <a:cubicBezTo>
                    <a:pt x="270" y="206"/>
                    <a:pt x="277" y="206"/>
                    <a:pt x="278" y="199"/>
                  </a:cubicBezTo>
                  <a:cubicBezTo>
                    <a:pt x="278" y="198"/>
                    <a:pt x="278" y="198"/>
                    <a:pt x="278" y="198"/>
                  </a:cubicBezTo>
                  <a:cubicBezTo>
                    <a:pt x="278" y="193"/>
                    <a:pt x="272" y="196"/>
                    <a:pt x="266" y="189"/>
                  </a:cubicBezTo>
                  <a:cubicBezTo>
                    <a:pt x="262" y="184"/>
                    <a:pt x="260" y="183"/>
                    <a:pt x="258" y="183"/>
                  </a:cubicBezTo>
                  <a:cubicBezTo>
                    <a:pt x="256" y="183"/>
                    <a:pt x="256" y="183"/>
                    <a:pt x="256" y="183"/>
                  </a:cubicBezTo>
                  <a:cubicBezTo>
                    <a:pt x="256" y="183"/>
                    <a:pt x="256" y="183"/>
                    <a:pt x="256" y="183"/>
                  </a:cubicBezTo>
                  <a:cubicBezTo>
                    <a:pt x="254" y="183"/>
                    <a:pt x="243" y="188"/>
                    <a:pt x="233" y="192"/>
                  </a:cubicBezTo>
                  <a:cubicBezTo>
                    <a:pt x="230" y="193"/>
                    <a:pt x="229" y="193"/>
                    <a:pt x="227" y="193"/>
                  </a:cubicBezTo>
                  <a:cubicBezTo>
                    <a:pt x="225" y="193"/>
                    <a:pt x="224" y="193"/>
                    <a:pt x="223" y="192"/>
                  </a:cubicBezTo>
                  <a:cubicBezTo>
                    <a:pt x="221" y="191"/>
                    <a:pt x="220" y="188"/>
                    <a:pt x="219" y="185"/>
                  </a:cubicBezTo>
                  <a:cubicBezTo>
                    <a:pt x="218" y="183"/>
                    <a:pt x="218" y="182"/>
                    <a:pt x="218" y="181"/>
                  </a:cubicBezTo>
                  <a:cubicBezTo>
                    <a:pt x="218" y="177"/>
                    <a:pt x="220" y="175"/>
                    <a:pt x="225" y="172"/>
                  </a:cubicBezTo>
                  <a:cubicBezTo>
                    <a:pt x="226" y="171"/>
                    <a:pt x="227" y="170"/>
                    <a:pt x="228" y="170"/>
                  </a:cubicBezTo>
                  <a:cubicBezTo>
                    <a:pt x="229" y="170"/>
                    <a:pt x="230" y="170"/>
                    <a:pt x="230" y="170"/>
                  </a:cubicBezTo>
                  <a:cubicBezTo>
                    <a:pt x="233" y="170"/>
                    <a:pt x="236" y="172"/>
                    <a:pt x="242" y="175"/>
                  </a:cubicBezTo>
                  <a:cubicBezTo>
                    <a:pt x="250" y="179"/>
                    <a:pt x="251" y="175"/>
                    <a:pt x="255" y="179"/>
                  </a:cubicBezTo>
                  <a:cubicBezTo>
                    <a:pt x="255" y="179"/>
                    <a:pt x="255" y="179"/>
                    <a:pt x="255" y="179"/>
                  </a:cubicBezTo>
                  <a:cubicBezTo>
                    <a:pt x="256" y="180"/>
                    <a:pt x="256" y="180"/>
                    <a:pt x="256" y="180"/>
                  </a:cubicBezTo>
                  <a:cubicBezTo>
                    <a:pt x="257" y="180"/>
                    <a:pt x="258" y="181"/>
                    <a:pt x="259" y="181"/>
                  </a:cubicBezTo>
                  <a:cubicBezTo>
                    <a:pt x="262" y="181"/>
                    <a:pt x="266" y="178"/>
                    <a:pt x="268" y="178"/>
                  </a:cubicBezTo>
                  <a:cubicBezTo>
                    <a:pt x="269" y="178"/>
                    <a:pt x="269" y="178"/>
                    <a:pt x="269" y="178"/>
                  </a:cubicBezTo>
                  <a:cubicBezTo>
                    <a:pt x="270" y="178"/>
                    <a:pt x="270" y="178"/>
                    <a:pt x="270" y="178"/>
                  </a:cubicBezTo>
                  <a:cubicBezTo>
                    <a:pt x="245" y="149"/>
                    <a:pt x="245" y="149"/>
                    <a:pt x="245" y="149"/>
                  </a:cubicBezTo>
                  <a:cubicBezTo>
                    <a:pt x="244" y="147"/>
                    <a:pt x="244" y="147"/>
                    <a:pt x="244" y="147"/>
                  </a:cubicBezTo>
                  <a:cubicBezTo>
                    <a:pt x="245" y="127"/>
                    <a:pt x="245" y="127"/>
                    <a:pt x="245" y="127"/>
                  </a:cubicBezTo>
                  <a:cubicBezTo>
                    <a:pt x="142" y="136"/>
                    <a:pt x="142" y="136"/>
                    <a:pt x="142" y="136"/>
                  </a:cubicBezTo>
                  <a:cubicBezTo>
                    <a:pt x="142" y="136"/>
                    <a:pt x="142" y="136"/>
                    <a:pt x="142" y="136"/>
                  </a:cubicBezTo>
                  <a:cubicBezTo>
                    <a:pt x="140" y="136"/>
                    <a:pt x="138" y="134"/>
                    <a:pt x="139" y="132"/>
                  </a:cubicBezTo>
                  <a:cubicBezTo>
                    <a:pt x="139" y="132"/>
                    <a:pt x="142" y="116"/>
                    <a:pt x="142" y="113"/>
                  </a:cubicBezTo>
                  <a:cubicBezTo>
                    <a:pt x="142" y="106"/>
                    <a:pt x="170" y="65"/>
                    <a:pt x="170" y="55"/>
                  </a:cubicBezTo>
                  <a:cubicBezTo>
                    <a:pt x="171" y="53"/>
                    <a:pt x="171" y="51"/>
                    <a:pt x="171" y="49"/>
                  </a:cubicBezTo>
                  <a:cubicBezTo>
                    <a:pt x="171" y="33"/>
                    <a:pt x="167" y="15"/>
                    <a:pt x="163" y="0"/>
                  </a:cubicBezTo>
                </a:path>
              </a:pathLst>
            </a:custGeom>
            <a:solidFill>
              <a:srgbClr val="BB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89" name="Freeform 28">
              <a:extLst>
                <a:ext uri="{FF2B5EF4-FFF2-40B4-BE49-F238E27FC236}">
                  <a16:creationId xmlns:a16="http://schemas.microsoft.com/office/drawing/2014/main" id="{7E1EA58F-9A82-EEDE-4825-68E5CB564903}"/>
                </a:ext>
              </a:extLst>
            </p:cNvPr>
            <p:cNvSpPr>
              <a:spLocks/>
            </p:cNvSpPr>
            <p:nvPr/>
          </p:nvSpPr>
          <p:spPr bwMode="auto">
            <a:xfrm>
              <a:off x="5315452" y="4339313"/>
              <a:ext cx="508475" cy="900684"/>
            </a:xfrm>
            <a:custGeom>
              <a:avLst/>
              <a:gdLst>
                <a:gd name="T0" fmla="*/ 172 w 184"/>
                <a:gd name="T1" fmla="*/ 0 h 325"/>
                <a:gd name="T2" fmla="*/ 128 w 184"/>
                <a:gd name="T3" fmla="*/ 7 h 325"/>
                <a:gd name="T4" fmla="*/ 58 w 184"/>
                <a:gd name="T5" fmla="*/ 9 h 325"/>
                <a:gd name="T6" fmla="*/ 50 w 184"/>
                <a:gd name="T7" fmla="*/ 18 h 325"/>
                <a:gd name="T8" fmla="*/ 47 w 184"/>
                <a:gd name="T9" fmla="*/ 35 h 325"/>
                <a:gd name="T10" fmla="*/ 34 w 184"/>
                <a:gd name="T11" fmla="*/ 53 h 325"/>
                <a:gd name="T12" fmla="*/ 29 w 184"/>
                <a:gd name="T13" fmla="*/ 68 h 325"/>
                <a:gd name="T14" fmla="*/ 17 w 184"/>
                <a:gd name="T15" fmla="*/ 107 h 325"/>
                <a:gd name="T16" fmla="*/ 17 w 184"/>
                <a:gd name="T17" fmla="*/ 107 h 325"/>
                <a:gd name="T18" fmla="*/ 18 w 184"/>
                <a:gd name="T19" fmla="*/ 119 h 325"/>
                <a:gd name="T20" fmla="*/ 22 w 184"/>
                <a:gd name="T21" fmla="*/ 140 h 325"/>
                <a:gd name="T22" fmla="*/ 31 w 184"/>
                <a:gd name="T23" fmla="*/ 197 h 325"/>
                <a:gd name="T24" fmla="*/ 31 w 184"/>
                <a:gd name="T25" fmla="*/ 205 h 325"/>
                <a:gd name="T26" fmla="*/ 2 w 184"/>
                <a:gd name="T27" fmla="*/ 262 h 325"/>
                <a:gd name="T28" fmla="*/ 1 w 184"/>
                <a:gd name="T29" fmla="*/ 274 h 325"/>
                <a:gd name="T30" fmla="*/ 0 w 184"/>
                <a:gd name="T31" fmla="*/ 278 h 325"/>
                <a:gd name="T32" fmla="*/ 102 w 184"/>
                <a:gd name="T33" fmla="*/ 270 h 325"/>
                <a:gd name="T34" fmla="*/ 103 w 184"/>
                <a:gd name="T35" fmla="*/ 270 h 325"/>
                <a:gd name="T36" fmla="*/ 106 w 184"/>
                <a:gd name="T37" fmla="*/ 274 h 325"/>
                <a:gd name="T38" fmla="*/ 104 w 184"/>
                <a:gd name="T39" fmla="*/ 295 h 325"/>
                <a:gd name="T40" fmla="*/ 130 w 184"/>
                <a:gd name="T41" fmla="*/ 325 h 325"/>
                <a:gd name="T42" fmla="*/ 133 w 184"/>
                <a:gd name="T43" fmla="*/ 323 h 325"/>
                <a:gd name="T44" fmla="*/ 133 w 184"/>
                <a:gd name="T45" fmla="*/ 323 h 325"/>
                <a:gd name="T46" fmla="*/ 133 w 184"/>
                <a:gd name="T47" fmla="*/ 323 h 325"/>
                <a:gd name="T48" fmla="*/ 138 w 184"/>
                <a:gd name="T49" fmla="*/ 319 h 325"/>
                <a:gd name="T50" fmla="*/ 148 w 184"/>
                <a:gd name="T51" fmla="*/ 313 h 325"/>
                <a:gd name="T52" fmla="*/ 153 w 184"/>
                <a:gd name="T53" fmla="*/ 313 h 325"/>
                <a:gd name="T54" fmla="*/ 158 w 184"/>
                <a:gd name="T55" fmla="*/ 313 h 325"/>
                <a:gd name="T56" fmla="*/ 159 w 184"/>
                <a:gd name="T57" fmla="*/ 313 h 325"/>
                <a:gd name="T58" fmla="*/ 163 w 184"/>
                <a:gd name="T59" fmla="*/ 314 h 325"/>
                <a:gd name="T60" fmla="*/ 170 w 184"/>
                <a:gd name="T61" fmla="*/ 318 h 325"/>
                <a:gd name="T62" fmla="*/ 171 w 184"/>
                <a:gd name="T63" fmla="*/ 318 h 325"/>
                <a:gd name="T64" fmla="*/ 171 w 184"/>
                <a:gd name="T65" fmla="*/ 318 h 325"/>
                <a:gd name="T66" fmla="*/ 171 w 184"/>
                <a:gd name="T67" fmla="*/ 318 h 325"/>
                <a:gd name="T68" fmla="*/ 172 w 184"/>
                <a:gd name="T69" fmla="*/ 318 h 325"/>
                <a:gd name="T70" fmla="*/ 184 w 184"/>
                <a:gd name="T71" fmla="*/ 314 h 325"/>
                <a:gd name="T72" fmla="*/ 183 w 184"/>
                <a:gd name="T73" fmla="*/ 298 h 325"/>
                <a:gd name="T74" fmla="*/ 173 w 184"/>
                <a:gd name="T75" fmla="*/ 246 h 325"/>
                <a:gd name="T76" fmla="*/ 170 w 184"/>
                <a:gd name="T77" fmla="*/ 209 h 325"/>
                <a:gd name="T78" fmla="*/ 171 w 184"/>
                <a:gd name="T79" fmla="*/ 146 h 325"/>
                <a:gd name="T80" fmla="*/ 170 w 184"/>
                <a:gd name="T81" fmla="*/ 127 h 325"/>
                <a:gd name="T82" fmla="*/ 170 w 184"/>
                <a:gd name="T83" fmla="*/ 112 h 325"/>
                <a:gd name="T84" fmla="*/ 172 w 184"/>
                <a:gd name="T8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325">
                  <a:moveTo>
                    <a:pt x="172" y="0"/>
                  </a:moveTo>
                  <a:cubicBezTo>
                    <a:pt x="128" y="7"/>
                    <a:pt x="128" y="7"/>
                    <a:pt x="128" y="7"/>
                  </a:cubicBezTo>
                  <a:cubicBezTo>
                    <a:pt x="58" y="9"/>
                    <a:pt x="58" y="9"/>
                    <a:pt x="58" y="9"/>
                  </a:cubicBezTo>
                  <a:cubicBezTo>
                    <a:pt x="55" y="12"/>
                    <a:pt x="52" y="16"/>
                    <a:pt x="50" y="18"/>
                  </a:cubicBezTo>
                  <a:cubicBezTo>
                    <a:pt x="48" y="20"/>
                    <a:pt x="48" y="31"/>
                    <a:pt x="47" y="35"/>
                  </a:cubicBezTo>
                  <a:cubicBezTo>
                    <a:pt x="45" y="43"/>
                    <a:pt x="43" y="50"/>
                    <a:pt x="34" y="53"/>
                  </a:cubicBezTo>
                  <a:cubicBezTo>
                    <a:pt x="32" y="56"/>
                    <a:pt x="31" y="65"/>
                    <a:pt x="29" y="68"/>
                  </a:cubicBezTo>
                  <a:cubicBezTo>
                    <a:pt x="25" y="81"/>
                    <a:pt x="17" y="92"/>
                    <a:pt x="17" y="107"/>
                  </a:cubicBezTo>
                  <a:cubicBezTo>
                    <a:pt x="17" y="107"/>
                    <a:pt x="17" y="107"/>
                    <a:pt x="17" y="107"/>
                  </a:cubicBezTo>
                  <a:cubicBezTo>
                    <a:pt x="17" y="114"/>
                    <a:pt x="18" y="118"/>
                    <a:pt x="18" y="119"/>
                  </a:cubicBezTo>
                  <a:cubicBezTo>
                    <a:pt x="18" y="120"/>
                    <a:pt x="20" y="129"/>
                    <a:pt x="22" y="140"/>
                  </a:cubicBezTo>
                  <a:cubicBezTo>
                    <a:pt x="26" y="158"/>
                    <a:pt x="31" y="178"/>
                    <a:pt x="31" y="197"/>
                  </a:cubicBezTo>
                  <a:cubicBezTo>
                    <a:pt x="31" y="200"/>
                    <a:pt x="31" y="202"/>
                    <a:pt x="31" y="205"/>
                  </a:cubicBezTo>
                  <a:cubicBezTo>
                    <a:pt x="30" y="216"/>
                    <a:pt x="8" y="247"/>
                    <a:pt x="2" y="262"/>
                  </a:cubicBezTo>
                  <a:cubicBezTo>
                    <a:pt x="2" y="264"/>
                    <a:pt x="2" y="269"/>
                    <a:pt x="1" y="274"/>
                  </a:cubicBezTo>
                  <a:cubicBezTo>
                    <a:pt x="0" y="278"/>
                    <a:pt x="0" y="278"/>
                    <a:pt x="0" y="278"/>
                  </a:cubicBezTo>
                  <a:cubicBezTo>
                    <a:pt x="102" y="270"/>
                    <a:pt x="102" y="270"/>
                    <a:pt x="102" y="270"/>
                  </a:cubicBezTo>
                  <a:cubicBezTo>
                    <a:pt x="103" y="270"/>
                    <a:pt x="103" y="270"/>
                    <a:pt x="103" y="270"/>
                  </a:cubicBezTo>
                  <a:cubicBezTo>
                    <a:pt x="105" y="270"/>
                    <a:pt x="106" y="271"/>
                    <a:pt x="106" y="274"/>
                  </a:cubicBezTo>
                  <a:cubicBezTo>
                    <a:pt x="106" y="279"/>
                    <a:pt x="105" y="287"/>
                    <a:pt x="104" y="295"/>
                  </a:cubicBezTo>
                  <a:cubicBezTo>
                    <a:pt x="130" y="325"/>
                    <a:pt x="130" y="325"/>
                    <a:pt x="130" y="325"/>
                  </a:cubicBezTo>
                  <a:cubicBezTo>
                    <a:pt x="131" y="324"/>
                    <a:pt x="132" y="324"/>
                    <a:pt x="133" y="323"/>
                  </a:cubicBezTo>
                  <a:cubicBezTo>
                    <a:pt x="133" y="323"/>
                    <a:pt x="133" y="323"/>
                    <a:pt x="133" y="323"/>
                  </a:cubicBezTo>
                  <a:cubicBezTo>
                    <a:pt x="133" y="323"/>
                    <a:pt x="133" y="323"/>
                    <a:pt x="133" y="323"/>
                  </a:cubicBezTo>
                  <a:cubicBezTo>
                    <a:pt x="135" y="322"/>
                    <a:pt x="136" y="321"/>
                    <a:pt x="138" y="319"/>
                  </a:cubicBezTo>
                  <a:cubicBezTo>
                    <a:pt x="143" y="316"/>
                    <a:pt x="145" y="314"/>
                    <a:pt x="148" y="313"/>
                  </a:cubicBezTo>
                  <a:cubicBezTo>
                    <a:pt x="149" y="313"/>
                    <a:pt x="151" y="313"/>
                    <a:pt x="153" y="313"/>
                  </a:cubicBezTo>
                  <a:cubicBezTo>
                    <a:pt x="154" y="313"/>
                    <a:pt x="156" y="313"/>
                    <a:pt x="158" y="313"/>
                  </a:cubicBezTo>
                  <a:cubicBezTo>
                    <a:pt x="159" y="313"/>
                    <a:pt x="159" y="313"/>
                    <a:pt x="159" y="313"/>
                  </a:cubicBezTo>
                  <a:cubicBezTo>
                    <a:pt x="161" y="313"/>
                    <a:pt x="162" y="314"/>
                    <a:pt x="163" y="314"/>
                  </a:cubicBezTo>
                  <a:cubicBezTo>
                    <a:pt x="168" y="316"/>
                    <a:pt x="168" y="318"/>
                    <a:pt x="170" y="318"/>
                  </a:cubicBezTo>
                  <a:cubicBezTo>
                    <a:pt x="171" y="318"/>
                    <a:pt x="171" y="318"/>
                    <a:pt x="171" y="318"/>
                  </a:cubicBezTo>
                  <a:cubicBezTo>
                    <a:pt x="171" y="318"/>
                    <a:pt x="171" y="318"/>
                    <a:pt x="171" y="318"/>
                  </a:cubicBezTo>
                  <a:cubicBezTo>
                    <a:pt x="171" y="318"/>
                    <a:pt x="171" y="318"/>
                    <a:pt x="171" y="318"/>
                  </a:cubicBezTo>
                  <a:cubicBezTo>
                    <a:pt x="172" y="318"/>
                    <a:pt x="172" y="318"/>
                    <a:pt x="172" y="318"/>
                  </a:cubicBezTo>
                  <a:cubicBezTo>
                    <a:pt x="176" y="316"/>
                    <a:pt x="177" y="315"/>
                    <a:pt x="184" y="314"/>
                  </a:cubicBezTo>
                  <a:cubicBezTo>
                    <a:pt x="184" y="309"/>
                    <a:pt x="183" y="303"/>
                    <a:pt x="183" y="298"/>
                  </a:cubicBezTo>
                  <a:cubicBezTo>
                    <a:pt x="173" y="246"/>
                    <a:pt x="173" y="246"/>
                    <a:pt x="173" y="246"/>
                  </a:cubicBezTo>
                  <a:cubicBezTo>
                    <a:pt x="170" y="209"/>
                    <a:pt x="170" y="209"/>
                    <a:pt x="170" y="209"/>
                  </a:cubicBezTo>
                  <a:cubicBezTo>
                    <a:pt x="170" y="209"/>
                    <a:pt x="171" y="172"/>
                    <a:pt x="171" y="146"/>
                  </a:cubicBezTo>
                  <a:cubicBezTo>
                    <a:pt x="171" y="138"/>
                    <a:pt x="171" y="131"/>
                    <a:pt x="170" y="127"/>
                  </a:cubicBezTo>
                  <a:cubicBezTo>
                    <a:pt x="170" y="124"/>
                    <a:pt x="170" y="118"/>
                    <a:pt x="170" y="112"/>
                  </a:cubicBezTo>
                  <a:cubicBezTo>
                    <a:pt x="170" y="79"/>
                    <a:pt x="172" y="11"/>
                    <a:pt x="172"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90" name="Freeform 29">
              <a:extLst>
                <a:ext uri="{FF2B5EF4-FFF2-40B4-BE49-F238E27FC236}">
                  <a16:creationId xmlns:a16="http://schemas.microsoft.com/office/drawing/2014/main" id="{B891B729-2474-05F2-6A42-AD32A4623B38}"/>
                </a:ext>
              </a:extLst>
            </p:cNvPr>
            <p:cNvSpPr>
              <a:spLocks/>
            </p:cNvSpPr>
            <p:nvPr/>
          </p:nvSpPr>
          <p:spPr bwMode="auto">
            <a:xfrm>
              <a:off x="5951046" y="4993510"/>
              <a:ext cx="1336298" cy="999899"/>
            </a:xfrm>
            <a:custGeom>
              <a:avLst/>
              <a:gdLst>
                <a:gd name="T0" fmla="*/ 324 w 483"/>
                <a:gd name="T1" fmla="*/ 0 h 360"/>
                <a:gd name="T2" fmla="*/ 328 w 483"/>
                <a:gd name="T3" fmla="*/ 18 h 360"/>
                <a:gd name="T4" fmla="*/ 319 w 483"/>
                <a:gd name="T5" fmla="*/ 31 h 360"/>
                <a:gd name="T6" fmla="*/ 154 w 483"/>
                <a:gd name="T7" fmla="*/ 28 h 360"/>
                <a:gd name="T8" fmla="*/ 154 w 483"/>
                <a:gd name="T9" fmla="*/ 28 h 360"/>
                <a:gd name="T10" fmla="*/ 146 w 483"/>
                <a:gd name="T11" fmla="*/ 15 h 360"/>
                <a:gd name="T12" fmla="*/ 5 w 483"/>
                <a:gd name="T13" fmla="*/ 26 h 360"/>
                <a:gd name="T14" fmla="*/ 1 w 483"/>
                <a:gd name="T15" fmla="*/ 34 h 360"/>
                <a:gd name="T16" fmla="*/ 14 w 483"/>
                <a:gd name="T17" fmla="*/ 44 h 360"/>
                <a:gd name="T18" fmla="*/ 18 w 483"/>
                <a:gd name="T19" fmla="*/ 62 h 360"/>
                <a:gd name="T20" fmla="*/ 20 w 483"/>
                <a:gd name="T21" fmla="*/ 62 h 360"/>
                <a:gd name="T22" fmla="*/ 25 w 483"/>
                <a:gd name="T23" fmla="*/ 61 h 360"/>
                <a:gd name="T24" fmla="*/ 34 w 483"/>
                <a:gd name="T25" fmla="*/ 52 h 360"/>
                <a:gd name="T26" fmla="*/ 35 w 483"/>
                <a:gd name="T27" fmla="*/ 52 h 360"/>
                <a:gd name="T28" fmla="*/ 40 w 483"/>
                <a:gd name="T29" fmla="*/ 60 h 360"/>
                <a:gd name="T30" fmla="*/ 58 w 483"/>
                <a:gd name="T31" fmla="*/ 57 h 360"/>
                <a:gd name="T32" fmla="*/ 64 w 483"/>
                <a:gd name="T33" fmla="*/ 54 h 360"/>
                <a:gd name="T34" fmla="*/ 79 w 483"/>
                <a:gd name="T35" fmla="*/ 58 h 360"/>
                <a:gd name="T36" fmla="*/ 104 w 483"/>
                <a:gd name="T37" fmla="*/ 67 h 360"/>
                <a:gd name="T38" fmla="*/ 145 w 483"/>
                <a:gd name="T39" fmla="*/ 100 h 360"/>
                <a:gd name="T40" fmla="*/ 151 w 483"/>
                <a:gd name="T41" fmla="*/ 102 h 360"/>
                <a:gd name="T42" fmla="*/ 194 w 483"/>
                <a:gd name="T43" fmla="*/ 67 h 360"/>
                <a:gd name="T44" fmla="*/ 206 w 483"/>
                <a:gd name="T45" fmla="*/ 61 h 360"/>
                <a:gd name="T46" fmla="*/ 221 w 483"/>
                <a:gd name="T47" fmla="*/ 64 h 360"/>
                <a:gd name="T48" fmla="*/ 288 w 483"/>
                <a:gd name="T49" fmla="*/ 117 h 360"/>
                <a:gd name="T50" fmla="*/ 301 w 483"/>
                <a:gd name="T51" fmla="*/ 186 h 360"/>
                <a:gd name="T52" fmla="*/ 306 w 483"/>
                <a:gd name="T53" fmla="*/ 209 h 360"/>
                <a:gd name="T54" fmla="*/ 315 w 483"/>
                <a:gd name="T55" fmla="*/ 201 h 360"/>
                <a:gd name="T56" fmla="*/ 324 w 483"/>
                <a:gd name="T57" fmla="*/ 192 h 360"/>
                <a:gd name="T58" fmla="*/ 321 w 483"/>
                <a:gd name="T59" fmla="*/ 211 h 360"/>
                <a:gd name="T60" fmla="*/ 318 w 483"/>
                <a:gd name="T61" fmla="*/ 226 h 360"/>
                <a:gd name="T62" fmla="*/ 347 w 483"/>
                <a:gd name="T63" fmla="*/ 263 h 360"/>
                <a:gd name="T64" fmla="*/ 348 w 483"/>
                <a:gd name="T65" fmla="*/ 263 h 360"/>
                <a:gd name="T66" fmla="*/ 358 w 483"/>
                <a:gd name="T67" fmla="*/ 262 h 360"/>
                <a:gd name="T68" fmla="*/ 359 w 483"/>
                <a:gd name="T69" fmla="*/ 280 h 360"/>
                <a:gd name="T70" fmla="*/ 360 w 483"/>
                <a:gd name="T71" fmla="*/ 283 h 360"/>
                <a:gd name="T72" fmla="*/ 368 w 483"/>
                <a:gd name="T73" fmla="*/ 273 h 360"/>
                <a:gd name="T74" fmla="*/ 371 w 483"/>
                <a:gd name="T75" fmla="*/ 270 h 360"/>
                <a:gd name="T76" fmla="*/ 372 w 483"/>
                <a:gd name="T77" fmla="*/ 276 h 360"/>
                <a:gd name="T78" fmla="*/ 373 w 483"/>
                <a:gd name="T79" fmla="*/ 287 h 360"/>
                <a:gd name="T80" fmla="*/ 400 w 483"/>
                <a:gd name="T81" fmla="*/ 320 h 360"/>
                <a:gd name="T82" fmla="*/ 447 w 483"/>
                <a:gd name="T83" fmla="*/ 359 h 360"/>
                <a:gd name="T84" fmla="*/ 461 w 483"/>
                <a:gd name="T85" fmla="*/ 355 h 360"/>
                <a:gd name="T86" fmla="*/ 478 w 483"/>
                <a:gd name="T87" fmla="*/ 321 h 360"/>
                <a:gd name="T88" fmla="*/ 483 w 483"/>
                <a:gd name="T89" fmla="*/ 274 h 360"/>
                <a:gd name="T90" fmla="*/ 453 w 483"/>
                <a:gd name="T91" fmla="*/ 195 h 360"/>
                <a:gd name="T92" fmla="*/ 418 w 483"/>
                <a:gd name="T93" fmla="*/ 126 h 360"/>
                <a:gd name="T94" fmla="*/ 373 w 483"/>
                <a:gd name="T95" fmla="*/ 54 h 360"/>
                <a:gd name="T96" fmla="*/ 351 w 483"/>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3" h="360">
                  <a:moveTo>
                    <a:pt x="351" y="0"/>
                  </a:moveTo>
                  <a:cubicBezTo>
                    <a:pt x="324" y="0"/>
                    <a:pt x="324" y="0"/>
                    <a:pt x="324" y="0"/>
                  </a:cubicBezTo>
                  <a:cubicBezTo>
                    <a:pt x="328" y="18"/>
                    <a:pt x="328" y="18"/>
                    <a:pt x="328" y="18"/>
                  </a:cubicBezTo>
                  <a:cubicBezTo>
                    <a:pt x="328" y="18"/>
                    <a:pt x="328" y="18"/>
                    <a:pt x="328" y="18"/>
                  </a:cubicBezTo>
                  <a:cubicBezTo>
                    <a:pt x="328" y="21"/>
                    <a:pt x="328" y="21"/>
                    <a:pt x="328" y="21"/>
                  </a:cubicBezTo>
                  <a:cubicBezTo>
                    <a:pt x="323" y="27"/>
                    <a:pt x="321" y="31"/>
                    <a:pt x="319" y="31"/>
                  </a:cubicBezTo>
                  <a:cubicBezTo>
                    <a:pt x="317" y="31"/>
                    <a:pt x="315" y="27"/>
                    <a:pt x="308" y="19"/>
                  </a:cubicBezTo>
                  <a:cubicBezTo>
                    <a:pt x="154" y="28"/>
                    <a:pt x="154" y="28"/>
                    <a:pt x="154" y="28"/>
                  </a:cubicBezTo>
                  <a:cubicBezTo>
                    <a:pt x="154" y="28"/>
                    <a:pt x="154" y="28"/>
                    <a:pt x="154" y="28"/>
                  </a:cubicBezTo>
                  <a:cubicBezTo>
                    <a:pt x="154" y="28"/>
                    <a:pt x="154" y="28"/>
                    <a:pt x="154" y="28"/>
                  </a:cubicBezTo>
                  <a:cubicBezTo>
                    <a:pt x="153" y="28"/>
                    <a:pt x="152" y="27"/>
                    <a:pt x="151" y="26"/>
                  </a:cubicBezTo>
                  <a:cubicBezTo>
                    <a:pt x="146" y="15"/>
                    <a:pt x="146" y="15"/>
                    <a:pt x="146" y="15"/>
                  </a:cubicBezTo>
                  <a:cubicBezTo>
                    <a:pt x="82" y="20"/>
                    <a:pt x="82" y="20"/>
                    <a:pt x="82" y="20"/>
                  </a:cubicBezTo>
                  <a:cubicBezTo>
                    <a:pt x="82" y="20"/>
                    <a:pt x="17" y="25"/>
                    <a:pt x="5" y="26"/>
                  </a:cubicBezTo>
                  <a:cubicBezTo>
                    <a:pt x="2" y="26"/>
                    <a:pt x="0" y="28"/>
                    <a:pt x="0" y="30"/>
                  </a:cubicBezTo>
                  <a:cubicBezTo>
                    <a:pt x="0" y="31"/>
                    <a:pt x="1" y="33"/>
                    <a:pt x="1" y="34"/>
                  </a:cubicBezTo>
                  <a:cubicBezTo>
                    <a:pt x="1" y="35"/>
                    <a:pt x="1" y="35"/>
                    <a:pt x="1" y="35"/>
                  </a:cubicBezTo>
                  <a:cubicBezTo>
                    <a:pt x="14" y="44"/>
                    <a:pt x="14" y="44"/>
                    <a:pt x="14" y="44"/>
                  </a:cubicBezTo>
                  <a:cubicBezTo>
                    <a:pt x="15" y="46"/>
                    <a:pt x="15" y="46"/>
                    <a:pt x="15" y="46"/>
                  </a:cubicBezTo>
                  <a:cubicBezTo>
                    <a:pt x="18" y="62"/>
                    <a:pt x="18" y="62"/>
                    <a:pt x="18" y="62"/>
                  </a:cubicBezTo>
                  <a:cubicBezTo>
                    <a:pt x="19" y="62"/>
                    <a:pt x="19" y="62"/>
                    <a:pt x="19" y="62"/>
                  </a:cubicBezTo>
                  <a:cubicBezTo>
                    <a:pt x="20" y="62"/>
                    <a:pt x="20" y="62"/>
                    <a:pt x="20" y="62"/>
                  </a:cubicBezTo>
                  <a:cubicBezTo>
                    <a:pt x="22" y="62"/>
                    <a:pt x="23" y="62"/>
                    <a:pt x="24" y="62"/>
                  </a:cubicBezTo>
                  <a:cubicBezTo>
                    <a:pt x="25" y="61"/>
                    <a:pt x="25" y="61"/>
                    <a:pt x="25" y="61"/>
                  </a:cubicBezTo>
                  <a:cubicBezTo>
                    <a:pt x="28" y="58"/>
                    <a:pt x="31" y="54"/>
                    <a:pt x="34" y="52"/>
                  </a:cubicBezTo>
                  <a:cubicBezTo>
                    <a:pt x="34" y="52"/>
                    <a:pt x="34" y="52"/>
                    <a:pt x="34" y="52"/>
                  </a:cubicBezTo>
                  <a:cubicBezTo>
                    <a:pt x="34" y="52"/>
                    <a:pt x="34" y="52"/>
                    <a:pt x="34" y="52"/>
                  </a:cubicBezTo>
                  <a:cubicBezTo>
                    <a:pt x="35" y="52"/>
                    <a:pt x="35" y="52"/>
                    <a:pt x="35" y="52"/>
                  </a:cubicBezTo>
                  <a:cubicBezTo>
                    <a:pt x="35" y="52"/>
                    <a:pt x="35" y="54"/>
                    <a:pt x="36" y="55"/>
                  </a:cubicBezTo>
                  <a:cubicBezTo>
                    <a:pt x="36" y="57"/>
                    <a:pt x="37" y="60"/>
                    <a:pt x="40" y="60"/>
                  </a:cubicBezTo>
                  <a:cubicBezTo>
                    <a:pt x="43" y="60"/>
                    <a:pt x="43" y="60"/>
                    <a:pt x="43" y="60"/>
                  </a:cubicBezTo>
                  <a:cubicBezTo>
                    <a:pt x="48" y="60"/>
                    <a:pt x="53" y="59"/>
                    <a:pt x="58" y="57"/>
                  </a:cubicBezTo>
                  <a:cubicBezTo>
                    <a:pt x="59" y="57"/>
                    <a:pt x="60" y="56"/>
                    <a:pt x="61" y="56"/>
                  </a:cubicBezTo>
                  <a:cubicBezTo>
                    <a:pt x="62" y="55"/>
                    <a:pt x="63" y="55"/>
                    <a:pt x="64" y="54"/>
                  </a:cubicBezTo>
                  <a:cubicBezTo>
                    <a:pt x="66" y="54"/>
                    <a:pt x="67" y="54"/>
                    <a:pt x="68" y="54"/>
                  </a:cubicBezTo>
                  <a:cubicBezTo>
                    <a:pt x="72" y="54"/>
                    <a:pt x="75" y="55"/>
                    <a:pt x="79" y="58"/>
                  </a:cubicBezTo>
                  <a:cubicBezTo>
                    <a:pt x="80" y="59"/>
                    <a:pt x="80" y="59"/>
                    <a:pt x="80" y="59"/>
                  </a:cubicBezTo>
                  <a:cubicBezTo>
                    <a:pt x="89" y="66"/>
                    <a:pt x="96" y="63"/>
                    <a:pt x="104" y="67"/>
                  </a:cubicBezTo>
                  <a:cubicBezTo>
                    <a:pt x="113" y="70"/>
                    <a:pt x="125" y="79"/>
                    <a:pt x="130" y="85"/>
                  </a:cubicBezTo>
                  <a:cubicBezTo>
                    <a:pt x="134" y="91"/>
                    <a:pt x="137" y="96"/>
                    <a:pt x="145" y="100"/>
                  </a:cubicBezTo>
                  <a:cubicBezTo>
                    <a:pt x="146" y="101"/>
                    <a:pt x="147" y="101"/>
                    <a:pt x="148" y="101"/>
                  </a:cubicBezTo>
                  <a:cubicBezTo>
                    <a:pt x="149" y="102"/>
                    <a:pt x="150" y="102"/>
                    <a:pt x="151" y="102"/>
                  </a:cubicBezTo>
                  <a:cubicBezTo>
                    <a:pt x="157" y="102"/>
                    <a:pt x="162" y="98"/>
                    <a:pt x="169" y="91"/>
                  </a:cubicBezTo>
                  <a:cubicBezTo>
                    <a:pt x="177" y="82"/>
                    <a:pt x="183" y="76"/>
                    <a:pt x="194" y="67"/>
                  </a:cubicBezTo>
                  <a:cubicBezTo>
                    <a:pt x="195" y="66"/>
                    <a:pt x="195" y="66"/>
                    <a:pt x="195" y="66"/>
                  </a:cubicBezTo>
                  <a:cubicBezTo>
                    <a:pt x="200" y="62"/>
                    <a:pt x="203" y="61"/>
                    <a:pt x="206" y="61"/>
                  </a:cubicBezTo>
                  <a:cubicBezTo>
                    <a:pt x="207" y="61"/>
                    <a:pt x="208" y="61"/>
                    <a:pt x="209" y="62"/>
                  </a:cubicBezTo>
                  <a:cubicBezTo>
                    <a:pt x="212" y="62"/>
                    <a:pt x="216" y="63"/>
                    <a:pt x="221" y="64"/>
                  </a:cubicBezTo>
                  <a:cubicBezTo>
                    <a:pt x="234" y="66"/>
                    <a:pt x="235" y="78"/>
                    <a:pt x="248" y="90"/>
                  </a:cubicBezTo>
                  <a:cubicBezTo>
                    <a:pt x="261" y="101"/>
                    <a:pt x="282" y="111"/>
                    <a:pt x="288" y="117"/>
                  </a:cubicBezTo>
                  <a:cubicBezTo>
                    <a:pt x="294" y="123"/>
                    <a:pt x="302" y="133"/>
                    <a:pt x="302" y="144"/>
                  </a:cubicBezTo>
                  <a:cubicBezTo>
                    <a:pt x="302" y="155"/>
                    <a:pt x="301" y="175"/>
                    <a:pt x="301" y="186"/>
                  </a:cubicBezTo>
                  <a:cubicBezTo>
                    <a:pt x="301" y="197"/>
                    <a:pt x="302" y="202"/>
                    <a:pt x="306" y="208"/>
                  </a:cubicBezTo>
                  <a:cubicBezTo>
                    <a:pt x="306" y="209"/>
                    <a:pt x="306" y="209"/>
                    <a:pt x="306" y="209"/>
                  </a:cubicBezTo>
                  <a:cubicBezTo>
                    <a:pt x="308" y="210"/>
                    <a:pt x="308" y="210"/>
                    <a:pt x="308" y="210"/>
                  </a:cubicBezTo>
                  <a:cubicBezTo>
                    <a:pt x="310" y="210"/>
                    <a:pt x="312" y="205"/>
                    <a:pt x="315" y="201"/>
                  </a:cubicBezTo>
                  <a:cubicBezTo>
                    <a:pt x="317" y="198"/>
                    <a:pt x="319" y="195"/>
                    <a:pt x="322" y="193"/>
                  </a:cubicBezTo>
                  <a:cubicBezTo>
                    <a:pt x="323" y="192"/>
                    <a:pt x="324" y="192"/>
                    <a:pt x="324" y="192"/>
                  </a:cubicBezTo>
                  <a:cubicBezTo>
                    <a:pt x="326" y="192"/>
                    <a:pt x="327" y="194"/>
                    <a:pt x="327" y="197"/>
                  </a:cubicBezTo>
                  <a:cubicBezTo>
                    <a:pt x="327" y="201"/>
                    <a:pt x="326" y="207"/>
                    <a:pt x="321" y="211"/>
                  </a:cubicBezTo>
                  <a:cubicBezTo>
                    <a:pt x="318" y="214"/>
                    <a:pt x="317" y="216"/>
                    <a:pt x="317" y="218"/>
                  </a:cubicBezTo>
                  <a:cubicBezTo>
                    <a:pt x="317" y="221"/>
                    <a:pt x="318" y="223"/>
                    <a:pt x="318" y="226"/>
                  </a:cubicBezTo>
                  <a:cubicBezTo>
                    <a:pt x="319" y="233"/>
                    <a:pt x="328" y="242"/>
                    <a:pt x="335" y="252"/>
                  </a:cubicBezTo>
                  <a:cubicBezTo>
                    <a:pt x="341" y="261"/>
                    <a:pt x="345" y="263"/>
                    <a:pt x="347" y="263"/>
                  </a:cubicBezTo>
                  <a:cubicBezTo>
                    <a:pt x="348" y="263"/>
                    <a:pt x="348" y="263"/>
                    <a:pt x="348" y="263"/>
                  </a:cubicBezTo>
                  <a:cubicBezTo>
                    <a:pt x="348" y="263"/>
                    <a:pt x="348" y="263"/>
                    <a:pt x="348" y="263"/>
                  </a:cubicBezTo>
                  <a:cubicBezTo>
                    <a:pt x="350" y="262"/>
                    <a:pt x="353" y="261"/>
                    <a:pt x="355" y="261"/>
                  </a:cubicBezTo>
                  <a:cubicBezTo>
                    <a:pt x="356" y="261"/>
                    <a:pt x="357" y="262"/>
                    <a:pt x="358" y="262"/>
                  </a:cubicBezTo>
                  <a:cubicBezTo>
                    <a:pt x="358" y="263"/>
                    <a:pt x="358" y="263"/>
                    <a:pt x="358" y="263"/>
                  </a:cubicBezTo>
                  <a:cubicBezTo>
                    <a:pt x="358" y="267"/>
                    <a:pt x="358" y="272"/>
                    <a:pt x="359" y="280"/>
                  </a:cubicBezTo>
                  <a:cubicBezTo>
                    <a:pt x="359" y="281"/>
                    <a:pt x="359" y="281"/>
                    <a:pt x="359" y="281"/>
                  </a:cubicBezTo>
                  <a:cubicBezTo>
                    <a:pt x="359" y="282"/>
                    <a:pt x="360" y="283"/>
                    <a:pt x="360" y="283"/>
                  </a:cubicBezTo>
                  <a:cubicBezTo>
                    <a:pt x="361" y="283"/>
                    <a:pt x="362" y="282"/>
                    <a:pt x="364" y="280"/>
                  </a:cubicBezTo>
                  <a:cubicBezTo>
                    <a:pt x="365" y="278"/>
                    <a:pt x="367" y="275"/>
                    <a:pt x="368" y="273"/>
                  </a:cubicBezTo>
                  <a:cubicBezTo>
                    <a:pt x="369" y="272"/>
                    <a:pt x="369" y="271"/>
                    <a:pt x="370" y="271"/>
                  </a:cubicBezTo>
                  <a:cubicBezTo>
                    <a:pt x="371" y="270"/>
                    <a:pt x="371" y="270"/>
                    <a:pt x="371" y="270"/>
                  </a:cubicBezTo>
                  <a:cubicBezTo>
                    <a:pt x="372" y="270"/>
                    <a:pt x="372" y="272"/>
                    <a:pt x="372" y="275"/>
                  </a:cubicBezTo>
                  <a:cubicBezTo>
                    <a:pt x="372" y="276"/>
                    <a:pt x="372" y="276"/>
                    <a:pt x="372" y="276"/>
                  </a:cubicBezTo>
                  <a:cubicBezTo>
                    <a:pt x="372" y="280"/>
                    <a:pt x="370" y="281"/>
                    <a:pt x="370" y="283"/>
                  </a:cubicBezTo>
                  <a:cubicBezTo>
                    <a:pt x="370" y="284"/>
                    <a:pt x="371" y="285"/>
                    <a:pt x="373" y="287"/>
                  </a:cubicBezTo>
                  <a:cubicBezTo>
                    <a:pt x="378" y="290"/>
                    <a:pt x="375" y="302"/>
                    <a:pt x="380" y="309"/>
                  </a:cubicBezTo>
                  <a:cubicBezTo>
                    <a:pt x="385" y="317"/>
                    <a:pt x="391" y="320"/>
                    <a:pt x="400" y="320"/>
                  </a:cubicBezTo>
                  <a:cubicBezTo>
                    <a:pt x="409" y="321"/>
                    <a:pt x="411" y="323"/>
                    <a:pt x="414" y="329"/>
                  </a:cubicBezTo>
                  <a:cubicBezTo>
                    <a:pt x="417" y="334"/>
                    <a:pt x="439" y="356"/>
                    <a:pt x="447" y="359"/>
                  </a:cubicBezTo>
                  <a:cubicBezTo>
                    <a:pt x="448" y="360"/>
                    <a:pt x="449" y="360"/>
                    <a:pt x="450" y="360"/>
                  </a:cubicBezTo>
                  <a:cubicBezTo>
                    <a:pt x="454" y="360"/>
                    <a:pt x="457" y="357"/>
                    <a:pt x="461" y="355"/>
                  </a:cubicBezTo>
                  <a:cubicBezTo>
                    <a:pt x="463" y="353"/>
                    <a:pt x="466" y="352"/>
                    <a:pt x="469" y="351"/>
                  </a:cubicBezTo>
                  <a:cubicBezTo>
                    <a:pt x="479" y="349"/>
                    <a:pt x="477" y="332"/>
                    <a:pt x="478" y="321"/>
                  </a:cubicBezTo>
                  <a:cubicBezTo>
                    <a:pt x="478" y="310"/>
                    <a:pt x="483" y="288"/>
                    <a:pt x="483" y="277"/>
                  </a:cubicBezTo>
                  <a:cubicBezTo>
                    <a:pt x="483" y="276"/>
                    <a:pt x="483" y="275"/>
                    <a:pt x="483" y="274"/>
                  </a:cubicBezTo>
                  <a:cubicBezTo>
                    <a:pt x="482" y="264"/>
                    <a:pt x="482" y="241"/>
                    <a:pt x="474" y="232"/>
                  </a:cubicBezTo>
                  <a:cubicBezTo>
                    <a:pt x="465" y="223"/>
                    <a:pt x="457" y="205"/>
                    <a:pt x="453" y="195"/>
                  </a:cubicBezTo>
                  <a:cubicBezTo>
                    <a:pt x="448" y="184"/>
                    <a:pt x="427" y="161"/>
                    <a:pt x="423" y="152"/>
                  </a:cubicBezTo>
                  <a:cubicBezTo>
                    <a:pt x="418" y="143"/>
                    <a:pt x="421" y="132"/>
                    <a:pt x="418" y="126"/>
                  </a:cubicBezTo>
                  <a:cubicBezTo>
                    <a:pt x="415" y="119"/>
                    <a:pt x="398" y="103"/>
                    <a:pt x="392" y="94"/>
                  </a:cubicBezTo>
                  <a:cubicBezTo>
                    <a:pt x="385" y="86"/>
                    <a:pt x="377" y="66"/>
                    <a:pt x="373" y="54"/>
                  </a:cubicBezTo>
                  <a:cubicBezTo>
                    <a:pt x="368" y="41"/>
                    <a:pt x="353" y="10"/>
                    <a:pt x="351" y="3"/>
                  </a:cubicBezTo>
                  <a:cubicBezTo>
                    <a:pt x="351" y="2"/>
                    <a:pt x="351" y="1"/>
                    <a:pt x="351" y="0"/>
                  </a:cubicBezTo>
                </a:path>
              </a:pathLst>
            </a:custGeom>
            <a:solidFill>
              <a:srgbClr val="BBBBB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91" name="Freeform 30">
              <a:extLst>
                <a:ext uri="{FF2B5EF4-FFF2-40B4-BE49-F238E27FC236}">
                  <a16:creationId xmlns:a16="http://schemas.microsoft.com/office/drawing/2014/main" id="{691391CF-4BA1-393A-3E89-1DE156CFEFB5}"/>
                </a:ext>
              </a:extLst>
            </p:cNvPr>
            <p:cNvSpPr>
              <a:spLocks/>
            </p:cNvSpPr>
            <p:nvPr/>
          </p:nvSpPr>
          <p:spPr bwMode="auto">
            <a:xfrm>
              <a:off x="6180481" y="4252500"/>
              <a:ext cx="790617" cy="801470"/>
            </a:xfrm>
            <a:custGeom>
              <a:avLst/>
              <a:gdLst>
                <a:gd name="T0" fmla="*/ 127 w 286"/>
                <a:gd name="T1" fmla="*/ 0 h 289"/>
                <a:gd name="T2" fmla="*/ 72 w 286"/>
                <a:gd name="T3" fmla="*/ 9 h 289"/>
                <a:gd name="T4" fmla="*/ 56 w 286"/>
                <a:gd name="T5" fmla="*/ 11 h 289"/>
                <a:gd name="T6" fmla="*/ 27 w 286"/>
                <a:gd name="T7" fmla="*/ 13 h 289"/>
                <a:gd name="T8" fmla="*/ 0 w 286"/>
                <a:gd name="T9" fmla="*/ 16 h 289"/>
                <a:gd name="T10" fmla="*/ 45 w 286"/>
                <a:gd name="T11" fmla="*/ 157 h 289"/>
                <a:gd name="T12" fmla="*/ 60 w 286"/>
                <a:gd name="T13" fmla="*/ 183 h 289"/>
                <a:gd name="T14" fmla="*/ 60 w 286"/>
                <a:gd name="T15" fmla="*/ 185 h 289"/>
                <a:gd name="T16" fmla="*/ 58 w 286"/>
                <a:gd name="T17" fmla="*/ 195 h 289"/>
                <a:gd name="T18" fmla="*/ 52 w 286"/>
                <a:gd name="T19" fmla="*/ 217 h 289"/>
                <a:gd name="T20" fmla="*/ 57 w 286"/>
                <a:gd name="T21" fmla="*/ 234 h 289"/>
                <a:gd name="T22" fmla="*/ 58 w 286"/>
                <a:gd name="T23" fmla="*/ 235 h 289"/>
                <a:gd name="T24" fmla="*/ 60 w 286"/>
                <a:gd name="T25" fmla="*/ 260 h 289"/>
                <a:gd name="T26" fmla="*/ 73 w 286"/>
                <a:gd name="T27" fmla="*/ 289 h 289"/>
                <a:gd name="T28" fmla="*/ 227 w 286"/>
                <a:gd name="T29" fmla="*/ 280 h 289"/>
                <a:gd name="T30" fmla="*/ 227 w 286"/>
                <a:gd name="T31" fmla="*/ 280 h 289"/>
                <a:gd name="T32" fmla="*/ 229 w 286"/>
                <a:gd name="T33" fmla="*/ 281 h 289"/>
                <a:gd name="T34" fmla="*/ 236 w 286"/>
                <a:gd name="T35" fmla="*/ 289 h 289"/>
                <a:gd name="T36" fmla="*/ 236 w 286"/>
                <a:gd name="T37" fmla="*/ 289 h 289"/>
                <a:gd name="T38" fmla="*/ 236 w 286"/>
                <a:gd name="T39" fmla="*/ 289 h 289"/>
                <a:gd name="T40" fmla="*/ 239 w 286"/>
                <a:gd name="T41" fmla="*/ 285 h 289"/>
                <a:gd name="T42" fmla="*/ 234 w 286"/>
                <a:gd name="T43" fmla="*/ 265 h 289"/>
                <a:gd name="T44" fmla="*/ 237 w 286"/>
                <a:gd name="T45" fmla="*/ 261 h 289"/>
                <a:gd name="T46" fmla="*/ 267 w 286"/>
                <a:gd name="T47" fmla="*/ 261 h 289"/>
                <a:gd name="T48" fmla="*/ 268 w 286"/>
                <a:gd name="T49" fmla="*/ 236 h 289"/>
                <a:gd name="T50" fmla="*/ 274 w 286"/>
                <a:gd name="T51" fmla="*/ 206 h 289"/>
                <a:gd name="T52" fmla="*/ 282 w 286"/>
                <a:gd name="T53" fmla="*/ 189 h 289"/>
                <a:gd name="T54" fmla="*/ 282 w 286"/>
                <a:gd name="T55" fmla="*/ 186 h 289"/>
                <a:gd name="T56" fmla="*/ 286 w 286"/>
                <a:gd name="T57" fmla="*/ 174 h 289"/>
                <a:gd name="T58" fmla="*/ 269 w 286"/>
                <a:gd name="T59" fmla="*/ 167 h 289"/>
                <a:gd name="T60" fmla="*/ 268 w 286"/>
                <a:gd name="T61" fmla="*/ 166 h 289"/>
                <a:gd name="T62" fmla="*/ 250 w 286"/>
                <a:gd name="T63" fmla="*/ 139 h 289"/>
                <a:gd name="T64" fmla="*/ 240 w 286"/>
                <a:gd name="T65" fmla="*/ 116 h 289"/>
                <a:gd name="T66" fmla="*/ 221 w 286"/>
                <a:gd name="T67" fmla="*/ 111 h 289"/>
                <a:gd name="T68" fmla="*/ 219 w 286"/>
                <a:gd name="T69" fmla="*/ 109 h 289"/>
                <a:gd name="T70" fmla="*/ 208 w 286"/>
                <a:gd name="T71" fmla="*/ 90 h 289"/>
                <a:gd name="T72" fmla="*/ 177 w 286"/>
                <a:gd name="T73" fmla="*/ 64 h 289"/>
                <a:gd name="T74" fmla="*/ 154 w 286"/>
                <a:gd name="T75" fmla="*/ 34 h 289"/>
                <a:gd name="T76" fmla="*/ 132 w 286"/>
                <a:gd name="T77" fmla="*/ 30 h 289"/>
                <a:gd name="T78" fmla="*/ 120 w 286"/>
                <a:gd name="T79" fmla="*/ 14 h 289"/>
                <a:gd name="T80" fmla="*/ 121 w 286"/>
                <a:gd name="T81" fmla="*/ 13 h 289"/>
                <a:gd name="T82" fmla="*/ 127 w 286"/>
                <a:gd name="T83"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289">
                  <a:moveTo>
                    <a:pt x="127" y="0"/>
                  </a:moveTo>
                  <a:cubicBezTo>
                    <a:pt x="72" y="9"/>
                    <a:pt x="72" y="9"/>
                    <a:pt x="72" y="9"/>
                  </a:cubicBezTo>
                  <a:cubicBezTo>
                    <a:pt x="56" y="11"/>
                    <a:pt x="56" y="11"/>
                    <a:pt x="56" y="11"/>
                  </a:cubicBezTo>
                  <a:cubicBezTo>
                    <a:pt x="27" y="13"/>
                    <a:pt x="27" y="13"/>
                    <a:pt x="27" y="13"/>
                  </a:cubicBezTo>
                  <a:cubicBezTo>
                    <a:pt x="0" y="16"/>
                    <a:pt x="0" y="16"/>
                    <a:pt x="0" y="16"/>
                  </a:cubicBezTo>
                  <a:cubicBezTo>
                    <a:pt x="45" y="157"/>
                    <a:pt x="45" y="157"/>
                    <a:pt x="45" y="157"/>
                  </a:cubicBezTo>
                  <a:cubicBezTo>
                    <a:pt x="60" y="183"/>
                    <a:pt x="60" y="183"/>
                    <a:pt x="60" y="183"/>
                  </a:cubicBezTo>
                  <a:cubicBezTo>
                    <a:pt x="60" y="185"/>
                    <a:pt x="60" y="185"/>
                    <a:pt x="60" y="185"/>
                  </a:cubicBezTo>
                  <a:cubicBezTo>
                    <a:pt x="58" y="195"/>
                    <a:pt x="58" y="195"/>
                    <a:pt x="58" y="195"/>
                  </a:cubicBezTo>
                  <a:cubicBezTo>
                    <a:pt x="58" y="195"/>
                    <a:pt x="52" y="215"/>
                    <a:pt x="52" y="217"/>
                  </a:cubicBezTo>
                  <a:cubicBezTo>
                    <a:pt x="52" y="219"/>
                    <a:pt x="57" y="233"/>
                    <a:pt x="57" y="234"/>
                  </a:cubicBezTo>
                  <a:cubicBezTo>
                    <a:pt x="58" y="235"/>
                    <a:pt x="58" y="235"/>
                    <a:pt x="58" y="235"/>
                  </a:cubicBezTo>
                  <a:cubicBezTo>
                    <a:pt x="60" y="260"/>
                    <a:pt x="60" y="260"/>
                    <a:pt x="60" y="260"/>
                  </a:cubicBezTo>
                  <a:cubicBezTo>
                    <a:pt x="73" y="289"/>
                    <a:pt x="73" y="289"/>
                    <a:pt x="73" y="289"/>
                  </a:cubicBezTo>
                  <a:cubicBezTo>
                    <a:pt x="227" y="280"/>
                    <a:pt x="227" y="280"/>
                    <a:pt x="227" y="280"/>
                  </a:cubicBezTo>
                  <a:cubicBezTo>
                    <a:pt x="227" y="280"/>
                    <a:pt x="227" y="280"/>
                    <a:pt x="227" y="280"/>
                  </a:cubicBezTo>
                  <a:cubicBezTo>
                    <a:pt x="228" y="280"/>
                    <a:pt x="228" y="280"/>
                    <a:pt x="229" y="281"/>
                  </a:cubicBezTo>
                  <a:cubicBezTo>
                    <a:pt x="232" y="283"/>
                    <a:pt x="235" y="288"/>
                    <a:pt x="236" y="289"/>
                  </a:cubicBezTo>
                  <a:cubicBezTo>
                    <a:pt x="236" y="289"/>
                    <a:pt x="236" y="289"/>
                    <a:pt x="236" y="289"/>
                  </a:cubicBezTo>
                  <a:cubicBezTo>
                    <a:pt x="236" y="289"/>
                    <a:pt x="236" y="289"/>
                    <a:pt x="236" y="289"/>
                  </a:cubicBezTo>
                  <a:cubicBezTo>
                    <a:pt x="239" y="285"/>
                    <a:pt x="239" y="285"/>
                    <a:pt x="239" y="285"/>
                  </a:cubicBezTo>
                  <a:cubicBezTo>
                    <a:pt x="237" y="277"/>
                    <a:pt x="234" y="269"/>
                    <a:pt x="234" y="265"/>
                  </a:cubicBezTo>
                  <a:cubicBezTo>
                    <a:pt x="234" y="262"/>
                    <a:pt x="235" y="261"/>
                    <a:pt x="237" y="261"/>
                  </a:cubicBezTo>
                  <a:cubicBezTo>
                    <a:pt x="267" y="261"/>
                    <a:pt x="267" y="261"/>
                    <a:pt x="267" y="261"/>
                  </a:cubicBezTo>
                  <a:cubicBezTo>
                    <a:pt x="266" y="253"/>
                    <a:pt x="266" y="243"/>
                    <a:pt x="268" y="236"/>
                  </a:cubicBezTo>
                  <a:cubicBezTo>
                    <a:pt x="270" y="225"/>
                    <a:pt x="270" y="222"/>
                    <a:pt x="274" y="206"/>
                  </a:cubicBezTo>
                  <a:cubicBezTo>
                    <a:pt x="278" y="190"/>
                    <a:pt x="280" y="195"/>
                    <a:pt x="282" y="189"/>
                  </a:cubicBezTo>
                  <a:cubicBezTo>
                    <a:pt x="282" y="189"/>
                    <a:pt x="282" y="187"/>
                    <a:pt x="282" y="186"/>
                  </a:cubicBezTo>
                  <a:cubicBezTo>
                    <a:pt x="283" y="183"/>
                    <a:pt x="285" y="178"/>
                    <a:pt x="286" y="174"/>
                  </a:cubicBezTo>
                  <a:cubicBezTo>
                    <a:pt x="269" y="167"/>
                    <a:pt x="269" y="167"/>
                    <a:pt x="269" y="167"/>
                  </a:cubicBezTo>
                  <a:cubicBezTo>
                    <a:pt x="268" y="166"/>
                    <a:pt x="268" y="166"/>
                    <a:pt x="268" y="166"/>
                  </a:cubicBezTo>
                  <a:cubicBezTo>
                    <a:pt x="250" y="139"/>
                    <a:pt x="250" y="139"/>
                    <a:pt x="250" y="139"/>
                  </a:cubicBezTo>
                  <a:cubicBezTo>
                    <a:pt x="240" y="116"/>
                    <a:pt x="240" y="116"/>
                    <a:pt x="240" y="116"/>
                  </a:cubicBezTo>
                  <a:cubicBezTo>
                    <a:pt x="221" y="111"/>
                    <a:pt x="221" y="111"/>
                    <a:pt x="221" y="111"/>
                  </a:cubicBezTo>
                  <a:cubicBezTo>
                    <a:pt x="219" y="109"/>
                    <a:pt x="219" y="109"/>
                    <a:pt x="219" y="109"/>
                  </a:cubicBezTo>
                  <a:cubicBezTo>
                    <a:pt x="208" y="90"/>
                    <a:pt x="208" y="90"/>
                    <a:pt x="208" y="90"/>
                  </a:cubicBezTo>
                  <a:cubicBezTo>
                    <a:pt x="177" y="64"/>
                    <a:pt x="177" y="64"/>
                    <a:pt x="177" y="64"/>
                  </a:cubicBezTo>
                  <a:cubicBezTo>
                    <a:pt x="154" y="34"/>
                    <a:pt x="154" y="34"/>
                    <a:pt x="154" y="34"/>
                  </a:cubicBezTo>
                  <a:cubicBezTo>
                    <a:pt x="149" y="33"/>
                    <a:pt x="135" y="33"/>
                    <a:pt x="132" y="30"/>
                  </a:cubicBezTo>
                  <a:cubicBezTo>
                    <a:pt x="129" y="27"/>
                    <a:pt x="120" y="17"/>
                    <a:pt x="120" y="14"/>
                  </a:cubicBezTo>
                  <a:cubicBezTo>
                    <a:pt x="121" y="13"/>
                    <a:pt x="121" y="13"/>
                    <a:pt x="121" y="13"/>
                  </a:cubicBezTo>
                  <a:lnTo>
                    <a:pt x="127" y="0"/>
                  </a:lnTo>
                  <a:close/>
                </a:path>
              </a:pathLst>
            </a:custGeom>
            <a:solidFill>
              <a:srgbClr val="BB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92" name="Freeform 31">
              <a:extLst>
                <a:ext uri="{FF2B5EF4-FFF2-40B4-BE49-F238E27FC236}">
                  <a16:creationId xmlns:a16="http://schemas.microsoft.com/office/drawing/2014/main" id="{D5A6EBCD-5B28-F8E6-EFF7-98C2DFF18BFB}"/>
                </a:ext>
              </a:extLst>
            </p:cNvPr>
            <p:cNvSpPr>
              <a:spLocks/>
            </p:cNvSpPr>
            <p:nvPr/>
          </p:nvSpPr>
          <p:spPr bwMode="auto">
            <a:xfrm>
              <a:off x="6371158" y="3761077"/>
              <a:ext cx="1305294" cy="575136"/>
            </a:xfrm>
            <a:custGeom>
              <a:avLst/>
              <a:gdLst>
                <a:gd name="T0" fmla="*/ 271 w 472"/>
                <a:gd name="T1" fmla="*/ 34 h 207"/>
                <a:gd name="T2" fmla="*/ 128 w 472"/>
                <a:gd name="T3" fmla="*/ 58 h 207"/>
                <a:gd name="T4" fmla="*/ 122 w 472"/>
                <a:gd name="T5" fmla="*/ 75 h 207"/>
                <a:gd name="T6" fmla="*/ 105 w 472"/>
                <a:gd name="T7" fmla="*/ 95 h 207"/>
                <a:gd name="T8" fmla="*/ 88 w 472"/>
                <a:gd name="T9" fmla="*/ 104 h 207"/>
                <a:gd name="T10" fmla="*/ 88 w 472"/>
                <a:gd name="T11" fmla="*/ 105 h 207"/>
                <a:gd name="T12" fmla="*/ 88 w 472"/>
                <a:gd name="T13" fmla="*/ 105 h 207"/>
                <a:gd name="T14" fmla="*/ 86 w 472"/>
                <a:gd name="T15" fmla="*/ 105 h 207"/>
                <a:gd name="T16" fmla="*/ 63 w 472"/>
                <a:gd name="T17" fmla="*/ 121 h 207"/>
                <a:gd name="T18" fmla="*/ 36 w 472"/>
                <a:gd name="T19" fmla="*/ 141 h 207"/>
                <a:gd name="T20" fmla="*/ 9 w 472"/>
                <a:gd name="T21" fmla="*/ 165 h 207"/>
                <a:gd name="T22" fmla="*/ 0 w 472"/>
                <a:gd name="T23" fmla="*/ 180 h 207"/>
                <a:gd name="T24" fmla="*/ 62 w 472"/>
                <a:gd name="T25" fmla="*/ 170 h 207"/>
                <a:gd name="T26" fmla="*/ 143 w 472"/>
                <a:gd name="T27" fmla="*/ 140 h 207"/>
                <a:gd name="T28" fmla="*/ 194 w 472"/>
                <a:gd name="T29" fmla="*/ 160 h 207"/>
                <a:gd name="T30" fmla="*/ 254 w 472"/>
                <a:gd name="T31" fmla="*/ 152 h 207"/>
                <a:gd name="T32" fmla="*/ 330 w 472"/>
                <a:gd name="T33" fmla="*/ 207 h 207"/>
                <a:gd name="T34" fmla="*/ 354 w 472"/>
                <a:gd name="T35" fmla="*/ 194 h 207"/>
                <a:gd name="T36" fmla="*/ 384 w 472"/>
                <a:gd name="T37" fmla="*/ 145 h 207"/>
                <a:gd name="T38" fmla="*/ 426 w 472"/>
                <a:gd name="T39" fmla="*/ 120 h 207"/>
                <a:gd name="T40" fmla="*/ 421 w 472"/>
                <a:gd name="T41" fmla="*/ 108 h 207"/>
                <a:gd name="T42" fmla="*/ 405 w 472"/>
                <a:gd name="T43" fmla="*/ 84 h 207"/>
                <a:gd name="T44" fmla="*/ 410 w 472"/>
                <a:gd name="T45" fmla="*/ 80 h 207"/>
                <a:gd name="T46" fmla="*/ 412 w 472"/>
                <a:gd name="T47" fmla="*/ 80 h 207"/>
                <a:gd name="T48" fmla="*/ 423 w 472"/>
                <a:gd name="T49" fmla="*/ 82 h 207"/>
                <a:gd name="T50" fmla="*/ 426 w 472"/>
                <a:gd name="T51" fmla="*/ 82 h 207"/>
                <a:gd name="T52" fmla="*/ 443 w 472"/>
                <a:gd name="T53" fmla="*/ 74 h 207"/>
                <a:gd name="T54" fmla="*/ 445 w 472"/>
                <a:gd name="T55" fmla="*/ 66 h 207"/>
                <a:gd name="T56" fmla="*/ 441 w 472"/>
                <a:gd name="T57" fmla="*/ 40 h 207"/>
                <a:gd name="T58" fmla="*/ 432 w 472"/>
                <a:gd name="T59" fmla="*/ 62 h 207"/>
                <a:gd name="T60" fmla="*/ 428 w 472"/>
                <a:gd name="T61" fmla="*/ 40 h 207"/>
                <a:gd name="T62" fmla="*/ 423 w 472"/>
                <a:gd name="T63" fmla="*/ 39 h 207"/>
                <a:gd name="T64" fmla="*/ 418 w 472"/>
                <a:gd name="T65" fmla="*/ 36 h 207"/>
                <a:gd name="T66" fmla="*/ 436 w 472"/>
                <a:gd name="T67" fmla="*/ 27 h 207"/>
                <a:gd name="T68" fmla="*/ 464 w 472"/>
                <a:gd name="T69" fmla="*/ 60 h 207"/>
                <a:gd name="T70" fmla="*/ 462 w 472"/>
                <a:gd name="T71" fmla="*/ 83 h 207"/>
                <a:gd name="T72" fmla="*/ 463 w 472"/>
                <a:gd name="T73" fmla="*/ 85 h 207"/>
                <a:gd name="T74" fmla="*/ 466 w 472"/>
                <a:gd name="T75" fmla="*/ 84 h 207"/>
                <a:gd name="T76" fmla="*/ 471 w 472"/>
                <a:gd name="T77" fmla="*/ 75 h 207"/>
                <a:gd name="T78" fmla="*/ 465 w 472"/>
                <a:gd name="T79" fmla="*/ 50 h 207"/>
                <a:gd name="T80" fmla="*/ 431 w 472"/>
                <a:gd name="T81" fmla="*/ 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2" h="207">
                  <a:moveTo>
                    <a:pt x="430" y="0"/>
                  </a:moveTo>
                  <a:cubicBezTo>
                    <a:pt x="386" y="10"/>
                    <a:pt x="311" y="27"/>
                    <a:pt x="271" y="34"/>
                  </a:cubicBezTo>
                  <a:cubicBezTo>
                    <a:pt x="212" y="44"/>
                    <a:pt x="179" y="53"/>
                    <a:pt x="179" y="53"/>
                  </a:cubicBezTo>
                  <a:cubicBezTo>
                    <a:pt x="128" y="58"/>
                    <a:pt x="128" y="58"/>
                    <a:pt x="128" y="58"/>
                  </a:cubicBezTo>
                  <a:cubicBezTo>
                    <a:pt x="122" y="75"/>
                    <a:pt x="122" y="75"/>
                    <a:pt x="122" y="75"/>
                  </a:cubicBezTo>
                  <a:cubicBezTo>
                    <a:pt x="122" y="75"/>
                    <a:pt x="122" y="75"/>
                    <a:pt x="122" y="75"/>
                  </a:cubicBezTo>
                  <a:cubicBezTo>
                    <a:pt x="113" y="89"/>
                    <a:pt x="113" y="89"/>
                    <a:pt x="113" y="89"/>
                  </a:cubicBezTo>
                  <a:cubicBezTo>
                    <a:pt x="108" y="94"/>
                    <a:pt x="107" y="95"/>
                    <a:pt x="105" y="95"/>
                  </a:cubicBezTo>
                  <a:cubicBezTo>
                    <a:pt x="104" y="95"/>
                    <a:pt x="102" y="95"/>
                    <a:pt x="98" y="94"/>
                  </a:cubicBezTo>
                  <a:cubicBezTo>
                    <a:pt x="88" y="104"/>
                    <a:pt x="88" y="104"/>
                    <a:pt x="88" y="104"/>
                  </a:cubicBezTo>
                  <a:cubicBezTo>
                    <a:pt x="88" y="104"/>
                    <a:pt x="88" y="104"/>
                    <a:pt x="88" y="104"/>
                  </a:cubicBezTo>
                  <a:cubicBezTo>
                    <a:pt x="88" y="105"/>
                    <a:pt x="88" y="105"/>
                    <a:pt x="88" y="105"/>
                  </a:cubicBezTo>
                  <a:cubicBezTo>
                    <a:pt x="88" y="105"/>
                    <a:pt x="88" y="105"/>
                    <a:pt x="88" y="105"/>
                  </a:cubicBezTo>
                  <a:cubicBezTo>
                    <a:pt x="88" y="105"/>
                    <a:pt x="88" y="105"/>
                    <a:pt x="88" y="105"/>
                  </a:cubicBezTo>
                  <a:cubicBezTo>
                    <a:pt x="86" y="105"/>
                    <a:pt x="86" y="105"/>
                    <a:pt x="86" y="105"/>
                  </a:cubicBezTo>
                  <a:cubicBezTo>
                    <a:pt x="86" y="105"/>
                    <a:pt x="86" y="105"/>
                    <a:pt x="86" y="105"/>
                  </a:cubicBezTo>
                  <a:cubicBezTo>
                    <a:pt x="74" y="104"/>
                    <a:pt x="74" y="104"/>
                    <a:pt x="74" y="104"/>
                  </a:cubicBezTo>
                  <a:cubicBezTo>
                    <a:pt x="70" y="110"/>
                    <a:pt x="69" y="118"/>
                    <a:pt x="63" y="121"/>
                  </a:cubicBezTo>
                  <a:cubicBezTo>
                    <a:pt x="54" y="127"/>
                    <a:pt x="45" y="134"/>
                    <a:pt x="37" y="141"/>
                  </a:cubicBezTo>
                  <a:cubicBezTo>
                    <a:pt x="36" y="141"/>
                    <a:pt x="36" y="141"/>
                    <a:pt x="36" y="141"/>
                  </a:cubicBezTo>
                  <a:cubicBezTo>
                    <a:pt x="36" y="141"/>
                    <a:pt x="21" y="146"/>
                    <a:pt x="19" y="146"/>
                  </a:cubicBezTo>
                  <a:cubicBezTo>
                    <a:pt x="17" y="147"/>
                    <a:pt x="13" y="164"/>
                    <a:pt x="9" y="165"/>
                  </a:cubicBezTo>
                  <a:cubicBezTo>
                    <a:pt x="1" y="168"/>
                    <a:pt x="1" y="168"/>
                    <a:pt x="1" y="168"/>
                  </a:cubicBezTo>
                  <a:cubicBezTo>
                    <a:pt x="0" y="180"/>
                    <a:pt x="0" y="180"/>
                    <a:pt x="0" y="180"/>
                  </a:cubicBezTo>
                  <a:cubicBezTo>
                    <a:pt x="3" y="180"/>
                    <a:pt x="3" y="180"/>
                    <a:pt x="3" y="180"/>
                  </a:cubicBezTo>
                  <a:cubicBezTo>
                    <a:pt x="62" y="170"/>
                    <a:pt x="62" y="170"/>
                    <a:pt x="62" y="170"/>
                  </a:cubicBezTo>
                  <a:cubicBezTo>
                    <a:pt x="76" y="164"/>
                    <a:pt x="89" y="157"/>
                    <a:pt x="100" y="149"/>
                  </a:cubicBezTo>
                  <a:cubicBezTo>
                    <a:pt x="109" y="142"/>
                    <a:pt x="128" y="140"/>
                    <a:pt x="143" y="140"/>
                  </a:cubicBezTo>
                  <a:cubicBezTo>
                    <a:pt x="143" y="140"/>
                    <a:pt x="171" y="140"/>
                    <a:pt x="174" y="142"/>
                  </a:cubicBezTo>
                  <a:cubicBezTo>
                    <a:pt x="194" y="160"/>
                    <a:pt x="194" y="160"/>
                    <a:pt x="194" y="160"/>
                  </a:cubicBezTo>
                  <a:cubicBezTo>
                    <a:pt x="252" y="152"/>
                    <a:pt x="252" y="152"/>
                    <a:pt x="252" y="152"/>
                  </a:cubicBezTo>
                  <a:cubicBezTo>
                    <a:pt x="254" y="152"/>
                    <a:pt x="254" y="152"/>
                    <a:pt x="254" y="152"/>
                  </a:cubicBezTo>
                  <a:cubicBezTo>
                    <a:pt x="330" y="207"/>
                    <a:pt x="330" y="207"/>
                    <a:pt x="330" y="207"/>
                  </a:cubicBezTo>
                  <a:cubicBezTo>
                    <a:pt x="330" y="207"/>
                    <a:pt x="330" y="207"/>
                    <a:pt x="330" y="207"/>
                  </a:cubicBezTo>
                  <a:cubicBezTo>
                    <a:pt x="331" y="206"/>
                    <a:pt x="332" y="205"/>
                    <a:pt x="333" y="204"/>
                  </a:cubicBezTo>
                  <a:cubicBezTo>
                    <a:pt x="340" y="197"/>
                    <a:pt x="347" y="196"/>
                    <a:pt x="354" y="194"/>
                  </a:cubicBezTo>
                  <a:cubicBezTo>
                    <a:pt x="361" y="192"/>
                    <a:pt x="363" y="172"/>
                    <a:pt x="366" y="167"/>
                  </a:cubicBezTo>
                  <a:cubicBezTo>
                    <a:pt x="368" y="162"/>
                    <a:pt x="375" y="154"/>
                    <a:pt x="384" y="145"/>
                  </a:cubicBezTo>
                  <a:cubicBezTo>
                    <a:pt x="394" y="136"/>
                    <a:pt x="400" y="138"/>
                    <a:pt x="408" y="130"/>
                  </a:cubicBezTo>
                  <a:cubicBezTo>
                    <a:pt x="416" y="123"/>
                    <a:pt x="419" y="123"/>
                    <a:pt x="426" y="120"/>
                  </a:cubicBezTo>
                  <a:cubicBezTo>
                    <a:pt x="428" y="119"/>
                    <a:pt x="429" y="117"/>
                    <a:pt x="429" y="116"/>
                  </a:cubicBezTo>
                  <a:cubicBezTo>
                    <a:pt x="429" y="112"/>
                    <a:pt x="424" y="108"/>
                    <a:pt x="421" y="108"/>
                  </a:cubicBezTo>
                  <a:cubicBezTo>
                    <a:pt x="416" y="108"/>
                    <a:pt x="415" y="101"/>
                    <a:pt x="415" y="92"/>
                  </a:cubicBezTo>
                  <a:cubicBezTo>
                    <a:pt x="415" y="83"/>
                    <a:pt x="407" y="87"/>
                    <a:pt x="405" y="84"/>
                  </a:cubicBezTo>
                  <a:cubicBezTo>
                    <a:pt x="405" y="82"/>
                    <a:pt x="405" y="82"/>
                    <a:pt x="405" y="82"/>
                  </a:cubicBezTo>
                  <a:cubicBezTo>
                    <a:pt x="405" y="81"/>
                    <a:pt x="407" y="80"/>
                    <a:pt x="410" y="80"/>
                  </a:cubicBezTo>
                  <a:cubicBezTo>
                    <a:pt x="411" y="80"/>
                    <a:pt x="411" y="80"/>
                    <a:pt x="411" y="80"/>
                  </a:cubicBezTo>
                  <a:cubicBezTo>
                    <a:pt x="412" y="80"/>
                    <a:pt x="412" y="80"/>
                    <a:pt x="412" y="80"/>
                  </a:cubicBezTo>
                  <a:cubicBezTo>
                    <a:pt x="413" y="80"/>
                    <a:pt x="414" y="81"/>
                    <a:pt x="416" y="81"/>
                  </a:cubicBezTo>
                  <a:cubicBezTo>
                    <a:pt x="418" y="81"/>
                    <a:pt x="421" y="82"/>
                    <a:pt x="423" y="82"/>
                  </a:cubicBezTo>
                  <a:cubicBezTo>
                    <a:pt x="425" y="82"/>
                    <a:pt x="425" y="82"/>
                    <a:pt x="425" y="82"/>
                  </a:cubicBezTo>
                  <a:cubicBezTo>
                    <a:pt x="426" y="82"/>
                    <a:pt x="426" y="82"/>
                    <a:pt x="426" y="82"/>
                  </a:cubicBezTo>
                  <a:cubicBezTo>
                    <a:pt x="431" y="81"/>
                    <a:pt x="436" y="80"/>
                    <a:pt x="441" y="77"/>
                  </a:cubicBezTo>
                  <a:cubicBezTo>
                    <a:pt x="443" y="76"/>
                    <a:pt x="443" y="75"/>
                    <a:pt x="443" y="74"/>
                  </a:cubicBezTo>
                  <a:cubicBezTo>
                    <a:pt x="444" y="73"/>
                    <a:pt x="443" y="72"/>
                    <a:pt x="443" y="71"/>
                  </a:cubicBezTo>
                  <a:cubicBezTo>
                    <a:pt x="443" y="70"/>
                    <a:pt x="444" y="68"/>
                    <a:pt x="445" y="66"/>
                  </a:cubicBezTo>
                  <a:cubicBezTo>
                    <a:pt x="448" y="60"/>
                    <a:pt x="450" y="57"/>
                    <a:pt x="450" y="52"/>
                  </a:cubicBezTo>
                  <a:cubicBezTo>
                    <a:pt x="450" y="47"/>
                    <a:pt x="445" y="40"/>
                    <a:pt x="441" y="40"/>
                  </a:cubicBezTo>
                  <a:cubicBezTo>
                    <a:pt x="437" y="40"/>
                    <a:pt x="433" y="47"/>
                    <a:pt x="433" y="58"/>
                  </a:cubicBezTo>
                  <a:cubicBezTo>
                    <a:pt x="433" y="61"/>
                    <a:pt x="433" y="62"/>
                    <a:pt x="432" y="62"/>
                  </a:cubicBezTo>
                  <a:cubicBezTo>
                    <a:pt x="431" y="62"/>
                    <a:pt x="429" y="53"/>
                    <a:pt x="429" y="47"/>
                  </a:cubicBezTo>
                  <a:cubicBezTo>
                    <a:pt x="429" y="43"/>
                    <a:pt x="429" y="41"/>
                    <a:pt x="428" y="40"/>
                  </a:cubicBezTo>
                  <a:cubicBezTo>
                    <a:pt x="427" y="39"/>
                    <a:pt x="426" y="39"/>
                    <a:pt x="425" y="39"/>
                  </a:cubicBezTo>
                  <a:cubicBezTo>
                    <a:pt x="423" y="39"/>
                    <a:pt x="423" y="39"/>
                    <a:pt x="423" y="39"/>
                  </a:cubicBezTo>
                  <a:cubicBezTo>
                    <a:pt x="423" y="39"/>
                    <a:pt x="423" y="39"/>
                    <a:pt x="423" y="39"/>
                  </a:cubicBezTo>
                  <a:cubicBezTo>
                    <a:pt x="419" y="39"/>
                    <a:pt x="418" y="37"/>
                    <a:pt x="418" y="36"/>
                  </a:cubicBezTo>
                  <a:cubicBezTo>
                    <a:pt x="418" y="35"/>
                    <a:pt x="418" y="34"/>
                    <a:pt x="419" y="33"/>
                  </a:cubicBezTo>
                  <a:cubicBezTo>
                    <a:pt x="422" y="30"/>
                    <a:pt x="429" y="27"/>
                    <a:pt x="436" y="27"/>
                  </a:cubicBezTo>
                  <a:cubicBezTo>
                    <a:pt x="442" y="27"/>
                    <a:pt x="444" y="30"/>
                    <a:pt x="450" y="34"/>
                  </a:cubicBezTo>
                  <a:cubicBezTo>
                    <a:pt x="456" y="38"/>
                    <a:pt x="460" y="49"/>
                    <a:pt x="464" y="60"/>
                  </a:cubicBezTo>
                  <a:cubicBezTo>
                    <a:pt x="465" y="62"/>
                    <a:pt x="465" y="64"/>
                    <a:pt x="465" y="66"/>
                  </a:cubicBezTo>
                  <a:cubicBezTo>
                    <a:pt x="465" y="73"/>
                    <a:pt x="462" y="79"/>
                    <a:pt x="462" y="83"/>
                  </a:cubicBezTo>
                  <a:cubicBezTo>
                    <a:pt x="462" y="84"/>
                    <a:pt x="462" y="84"/>
                    <a:pt x="462" y="84"/>
                  </a:cubicBezTo>
                  <a:cubicBezTo>
                    <a:pt x="463" y="85"/>
                    <a:pt x="463" y="85"/>
                    <a:pt x="463" y="85"/>
                  </a:cubicBezTo>
                  <a:cubicBezTo>
                    <a:pt x="464" y="85"/>
                    <a:pt x="464" y="85"/>
                    <a:pt x="464" y="85"/>
                  </a:cubicBezTo>
                  <a:cubicBezTo>
                    <a:pt x="466" y="84"/>
                    <a:pt x="466" y="84"/>
                    <a:pt x="466" y="84"/>
                  </a:cubicBezTo>
                  <a:cubicBezTo>
                    <a:pt x="467" y="83"/>
                    <a:pt x="468" y="82"/>
                    <a:pt x="469" y="80"/>
                  </a:cubicBezTo>
                  <a:cubicBezTo>
                    <a:pt x="470" y="79"/>
                    <a:pt x="471" y="77"/>
                    <a:pt x="471" y="75"/>
                  </a:cubicBezTo>
                  <a:cubicBezTo>
                    <a:pt x="472" y="74"/>
                    <a:pt x="472" y="73"/>
                    <a:pt x="472" y="72"/>
                  </a:cubicBezTo>
                  <a:cubicBezTo>
                    <a:pt x="472" y="66"/>
                    <a:pt x="468" y="55"/>
                    <a:pt x="465" y="50"/>
                  </a:cubicBezTo>
                  <a:cubicBezTo>
                    <a:pt x="462" y="43"/>
                    <a:pt x="455" y="35"/>
                    <a:pt x="445" y="26"/>
                  </a:cubicBezTo>
                  <a:cubicBezTo>
                    <a:pt x="435" y="18"/>
                    <a:pt x="435" y="6"/>
                    <a:pt x="431" y="2"/>
                  </a:cubicBezTo>
                  <a:lnTo>
                    <a:pt x="43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93" name="Freeform 32">
              <a:extLst>
                <a:ext uri="{FF2B5EF4-FFF2-40B4-BE49-F238E27FC236}">
                  <a16:creationId xmlns:a16="http://schemas.microsoft.com/office/drawing/2014/main" id="{078EED5D-94C8-B972-E9A0-DA43AF9AC9E9}"/>
                </a:ext>
              </a:extLst>
            </p:cNvPr>
            <p:cNvSpPr>
              <a:spLocks/>
            </p:cNvSpPr>
            <p:nvPr/>
          </p:nvSpPr>
          <p:spPr bwMode="auto">
            <a:xfrm>
              <a:off x="6935441" y="3187492"/>
              <a:ext cx="655748" cy="331749"/>
            </a:xfrm>
            <a:custGeom>
              <a:avLst/>
              <a:gdLst>
                <a:gd name="T0" fmla="*/ 182 w 237"/>
                <a:gd name="T1" fmla="*/ 0 h 120"/>
                <a:gd name="T2" fmla="*/ 64 w 237"/>
                <a:gd name="T3" fmla="*/ 25 h 120"/>
                <a:gd name="T4" fmla="*/ 0 w 237"/>
                <a:gd name="T5" fmla="*/ 37 h 120"/>
                <a:gd name="T6" fmla="*/ 5 w 237"/>
                <a:gd name="T7" fmla="*/ 59 h 120"/>
                <a:gd name="T8" fmla="*/ 28 w 237"/>
                <a:gd name="T9" fmla="*/ 35 h 120"/>
                <a:gd name="T10" fmla="*/ 30 w 237"/>
                <a:gd name="T11" fmla="*/ 34 h 120"/>
                <a:gd name="T12" fmla="*/ 47 w 237"/>
                <a:gd name="T13" fmla="*/ 34 h 120"/>
                <a:gd name="T14" fmla="*/ 62 w 237"/>
                <a:gd name="T15" fmla="*/ 26 h 120"/>
                <a:gd name="T16" fmla="*/ 63 w 237"/>
                <a:gd name="T17" fmla="*/ 25 h 120"/>
                <a:gd name="T18" fmla="*/ 63 w 237"/>
                <a:gd name="T19" fmla="*/ 25 h 120"/>
                <a:gd name="T20" fmla="*/ 75 w 237"/>
                <a:gd name="T21" fmla="*/ 24 h 120"/>
                <a:gd name="T22" fmla="*/ 76 w 237"/>
                <a:gd name="T23" fmla="*/ 24 h 120"/>
                <a:gd name="T24" fmla="*/ 78 w 237"/>
                <a:gd name="T25" fmla="*/ 24 h 120"/>
                <a:gd name="T26" fmla="*/ 94 w 237"/>
                <a:gd name="T27" fmla="*/ 37 h 120"/>
                <a:gd name="T28" fmla="*/ 100 w 237"/>
                <a:gd name="T29" fmla="*/ 39 h 120"/>
                <a:gd name="T30" fmla="*/ 132 w 237"/>
                <a:gd name="T31" fmla="*/ 66 h 120"/>
                <a:gd name="T32" fmla="*/ 159 w 237"/>
                <a:gd name="T33" fmla="*/ 71 h 120"/>
                <a:gd name="T34" fmla="*/ 160 w 237"/>
                <a:gd name="T35" fmla="*/ 66 h 120"/>
                <a:gd name="T36" fmla="*/ 159 w 237"/>
                <a:gd name="T37" fmla="*/ 64 h 120"/>
                <a:gd name="T38" fmla="*/ 160 w 237"/>
                <a:gd name="T39" fmla="*/ 60 h 120"/>
                <a:gd name="T40" fmla="*/ 160 w 237"/>
                <a:gd name="T41" fmla="*/ 56 h 120"/>
                <a:gd name="T42" fmla="*/ 154 w 237"/>
                <a:gd name="T43" fmla="*/ 44 h 120"/>
                <a:gd name="T44" fmla="*/ 152 w 237"/>
                <a:gd name="T45" fmla="*/ 39 h 120"/>
                <a:gd name="T46" fmla="*/ 157 w 237"/>
                <a:gd name="T47" fmla="*/ 26 h 120"/>
                <a:gd name="T48" fmla="*/ 176 w 237"/>
                <a:gd name="T49" fmla="*/ 10 h 120"/>
                <a:gd name="T50" fmla="*/ 178 w 237"/>
                <a:gd name="T51" fmla="*/ 10 h 120"/>
                <a:gd name="T52" fmla="*/ 180 w 237"/>
                <a:gd name="T53" fmla="*/ 10 h 120"/>
                <a:gd name="T54" fmla="*/ 179 w 237"/>
                <a:gd name="T55" fmla="*/ 18 h 120"/>
                <a:gd name="T56" fmla="*/ 171 w 237"/>
                <a:gd name="T57" fmla="*/ 33 h 120"/>
                <a:gd name="T58" fmla="*/ 168 w 237"/>
                <a:gd name="T59" fmla="*/ 39 h 120"/>
                <a:gd name="T60" fmla="*/ 172 w 237"/>
                <a:gd name="T61" fmla="*/ 47 h 120"/>
                <a:gd name="T62" fmla="*/ 179 w 237"/>
                <a:gd name="T63" fmla="*/ 67 h 120"/>
                <a:gd name="T64" fmla="*/ 179 w 237"/>
                <a:gd name="T65" fmla="*/ 69 h 120"/>
                <a:gd name="T66" fmla="*/ 177 w 237"/>
                <a:gd name="T67" fmla="*/ 80 h 120"/>
                <a:gd name="T68" fmla="*/ 179 w 237"/>
                <a:gd name="T69" fmla="*/ 85 h 120"/>
                <a:gd name="T70" fmla="*/ 183 w 237"/>
                <a:gd name="T71" fmla="*/ 90 h 120"/>
                <a:gd name="T72" fmla="*/ 187 w 237"/>
                <a:gd name="T73" fmla="*/ 91 h 120"/>
                <a:gd name="T74" fmla="*/ 192 w 237"/>
                <a:gd name="T75" fmla="*/ 89 h 120"/>
                <a:gd name="T76" fmla="*/ 194 w 237"/>
                <a:gd name="T77" fmla="*/ 88 h 120"/>
                <a:gd name="T78" fmla="*/ 207 w 237"/>
                <a:gd name="T79" fmla="*/ 96 h 120"/>
                <a:gd name="T80" fmla="*/ 207 w 237"/>
                <a:gd name="T81" fmla="*/ 96 h 120"/>
                <a:gd name="T82" fmla="*/ 207 w 237"/>
                <a:gd name="T83" fmla="*/ 97 h 120"/>
                <a:gd name="T84" fmla="*/ 207 w 237"/>
                <a:gd name="T85" fmla="*/ 97 h 120"/>
                <a:gd name="T86" fmla="*/ 208 w 237"/>
                <a:gd name="T87" fmla="*/ 97 h 120"/>
                <a:gd name="T88" fmla="*/ 208 w 237"/>
                <a:gd name="T89" fmla="*/ 97 h 120"/>
                <a:gd name="T90" fmla="*/ 211 w 237"/>
                <a:gd name="T91" fmla="*/ 110 h 120"/>
                <a:gd name="T92" fmla="*/ 211 w 237"/>
                <a:gd name="T93" fmla="*/ 110 h 120"/>
                <a:gd name="T94" fmla="*/ 211 w 237"/>
                <a:gd name="T95" fmla="*/ 110 h 120"/>
                <a:gd name="T96" fmla="*/ 209 w 237"/>
                <a:gd name="T97" fmla="*/ 120 h 120"/>
                <a:gd name="T98" fmla="*/ 215 w 237"/>
                <a:gd name="T99" fmla="*/ 119 h 120"/>
                <a:gd name="T100" fmla="*/ 228 w 237"/>
                <a:gd name="T101" fmla="*/ 116 h 120"/>
                <a:gd name="T102" fmla="*/ 229 w 237"/>
                <a:gd name="T103" fmla="*/ 108 h 120"/>
                <a:gd name="T104" fmla="*/ 235 w 237"/>
                <a:gd name="T105" fmla="*/ 87 h 120"/>
                <a:gd name="T106" fmla="*/ 236 w 237"/>
                <a:gd name="T107" fmla="*/ 87 h 120"/>
                <a:gd name="T108" fmla="*/ 236 w 237"/>
                <a:gd name="T109" fmla="*/ 86 h 120"/>
                <a:gd name="T110" fmla="*/ 236 w 237"/>
                <a:gd name="T111" fmla="*/ 86 h 120"/>
                <a:gd name="T112" fmla="*/ 237 w 237"/>
                <a:gd name="T113" fmla="*/ 81 h 120"/>
                <a:gd name="T114" fmla="*/ 237 w 237"/>
                <a:gd name="T115" fmla="*/ 80 h 120"/>
                <a:gd name="T116" fmla="*/ 206 w 237"/>
                <a:gd name="T117" fmla="*/ 82 h 120"/>
                <a:gd name="T118" fmla="*/ 206 w 237"/>
                <a:gd name="T119" fmla="*/ 82 h 120"/>
                <a:gd name="T120" fmla="*/ 203 w 237"/>
                <a:gd name="T121" fmla="*/ 79 h 120"/>
                <a:gd name="T122" fmla="*/ 182 w 237"/>
                <a:gd name="T12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20">
                  <a:moveTo>
                    <a:pt x="182" y="0"/>
                  </a:moveTo>
                  <a:cubicBezTo>
                    <a:pt x="169" y="3"/>
                    <a:pt x="98" y="18"/>
                    <a:pt x="64" y="25"/>
                  </a:cubicBezTo>
                  <a:cubicBezTo>
                    <a:pt x="48" y="28"/>
                    <a:pt x="23" y="33"/>
                    <a:pt x="0" y="37"/>
                  </a:cubicBezTo>
                  <a:cubicBezTo>
                    <a:pt x="5" y="59"/>
                    <a:pt x="5" y="59"/>
                    <a:pt x="5" y="59"/>
                  </a:cubicBezTo>
                  <a:cubicBezTo>
                    <a:pt x="28" y="35"/>
                    <a:pt x="28" y="35"/>
                    <a:pt x="28" y="35"/>
                  </a:cubicBezTo>
                  <a:cubicBezTo>
                    <a:pt x="30" y="34"/>
                    <a:pt x="30" y="34"/>
                    <a:pt x="30" y="34"/>
                  </a:cubicBezTo>
                  <a:cubicBezTo>
                    <a:pt x="47" y="34"/>
                    <a:pt x="47" y="34"/>
                    <a:pt x="47" y="34"/>
                  </a:cubicBezTo>
                  <a:cubicBezTo>
                    <a:pt x="62" y="26"/>
                    <a:pt x="62" y="26"/>
                    <a:pt x="62" y="26"/>
                  </a:cubicBezTo>
                  <a:cubicBezTo>
                    <a:pt x="63" y="25"/>
                    <a:pt x="63" y="25"/>
                    <a:pt x="63" y="25"/>
                  </a:cubicBezTo>
                  <a:cubicBezTo>
                    <a:pt x="63" y="25"/>
                    <a:pt x="63" y="25"/>
                    <a:pt x="63" y="25"/>
                  </a:cubicBezTo>
                  <a:cubicBezTo>
                    <a:pt x="64" y="25"/>
                    <a:pt x="69" y="24"/>
                    <a:pt x="75" y="24"/>
                  </a:cubicBezTo>
                  <a:cubicBezTo>
                    <a:pt x="76" y="24"/>
                    <a:pt x="76" y="24"/>
                    <a:pt x="76" y="24"/>
                  </a:cubicBezTo>
                  <a:cubicBezTo>
                    <a:pt x="78" y="24"/>
                    <a:pt x="78" y="24"/>
                    <a:pt x="78" y="24"/>
                  </a:cubicBezTo>
                  <a:cubicBezTo>
                    <a:pt x="84" y="25"/>
                    <a:pt x="91" y="31"/>
                    <a:pt x="94" y="37"/>
                  </a:cubicBezTo>
                  <a:cubicBezTo>
                    <a:pt x="96" y="38"/>
                    <a:pt x="98" y="38"/>
                    <a:pt x="100" y="39"/>
                  </a:cubicBezTo>
                  <a:cubicBezTo>
                    <a:pt x="117" y="46"/>
                    <a:pt x="109" y="63"/>
                    <a:pt x="132" y="66"/>
                  </a:cubicBezTo>
                  <a:cubicBezTo>
                    <a:pt x="142" y="67"/>
                    <a:pt x="153" y="69"/>
                    <a:pt x="159" y="71"/>
                  </a:cubicBezTo>
                  <a:cubicBezTo>
                    <a:pt x="160" y="69"/>
                    <a:pt x="160" y="67"/>
                    <a:pt x="160" y="66"/>
                  </a:cubicBezTo>
                  <a:cubicBezTo>
                    <a:pt x="159" y="65"/>
                    <a:pt x="159" y="65"/>
                    <a:pt x="159" y="64"/>
                  </a:cubicBezTo>
                  <a:cubicBezTo>
                    <a:pt x="159" y="63"/>
                    <a:pt x="159" y="62"/>
                    <a:pt x="160" y="60"/>
                  </a:cubicBezTo>
                  <a:cubicBezTo>
                    <a:pt x="160" y="58"/>
                    <a:pt x="160" y="57"/>
                    <a:pt x="160" y="56"/>
                  </a:cubicBezTo>
                  <a:cubicBezTo>
                    <a:pt x="160" y="51"/>
                    <a:pt x="158" y="49"/>
                    <a:pt x="154" y="44"/>
                  </a:cubicBezTo>
                  <a:cubicBezTo>
                    <a:pt x="153" y="42"/>
                    <a:pt x="152" y="40"/>
                    <a:pt x="152" y="39"/>
                  </a:cubicBezTo>
                  <a:cubicBezTo>
                    <a:pt x="152" y="35"/>
                    <a:pt x="155" y="32"/>
                    <a:pt x="157" y="26"/>
                  </a:cubicBezTo>
                  <a:cubicBezTo>
                    <a:pt x="160" y="16"/>
                    <a:pt x="170" y="11"/>
                    <a:pt x="176" y="10"/>
                  </a:cubicBezTo>
                  <a:cubicBezTo>
                    <a:pt x="177" y="10"/>
                    <a:pt x="178" y="10"/>
                    <a:pt x="178" y="10"/>
                  </a:cubicBezTo>
                  <a:cubicBezTo>
                    <a:pt x="180" y="10"/>
                    <a:pt x="180" y="10"/>
                    <a:pt x="180" y="10"/>
                  </a:cubicBezTo>
                  <a:cubicBezTo>
                    <a:pt x="180" y="11"/>
                    <a:pt x="179" y="14"/>
                    <a:pt x="179" y="18"/>
                  </a:cubicBezTo>
                  <a:cubicBezTo>
                    <a:pt x="178" y="25"/>
                    <a:pt x="175" y="25"/>
                    <a:pt x="171" y="33"/>
                  </a:cubicBezTo>
                  <a:cubicBezTo>
                    <a:pt x="169" y="36"/>
                    <a:pt x="168" y="38"/>
                    <a:pt x="168" y="39"/>
                  </a:cubicBezTo>
                  <a:cubicBezTo>
                    <a:pt x="168" y="41"/>
                    <a:pt x="170" y="43"/>
                    <a:pt x="172" y="47"/>
                  </a:cubicBezTo>
                  <a:cubicBezTo>
                    <a:pt x="174" y="55"/>
                    <a:pt x="177" y="59"/>
                    <a:pt x="179" y="67"/>
                  </a:cubicBezTo>
                  <a:cubicBezTo>
                    <a:pt x="179" y="69"/>
                    <a:pt x="179" y="69"/>
                    <a:pt x="179" y="69"/>
                  </a:cubicBezTo>
                  <a:cubicBezTo>
                    <a:pt x="179" y="73"/>
                    <a:pt x="177" y="76"/>
                    <a:pt x="177" y="80"/>
                  </a:cubicBezTo>
                  <a:cubicBezTo>
                    <a:pt x="177" y="81"/>
                    <a:pt x="177" y="83"/>
                    <a:pt x="179" y="85"/>
                  </a:cubicBezTo>
                  <a:cubicBezTo>
                    <a:pt x="180" y="87"/>
                    <a:pt x="182" y="89"/>
                    <a:pt x="183" y="90"/>
                  </a:cubicBezTo>
                  <a:cubicBezTo>
                    <a:pt x="185" y="91"/>
                    <a:pt x="186" y="91"/>
                    <a:pt x="187" y="91"/>
                  </a:cubicBezTo>
                  <a:cubicBezTo>
                    <a:pt x="189" y="91"/>
                    <a:pt x="191" y="90"/>
                    <a:pt x="192" y="89"/>
                  </a:cubicBezTo>
                  <a:cubicBezTo>
                    <a:pt x="193" y="89"/>
                    <a:pt x="193" y="88"/>
                    <a:pt x="194" y="88"/>
                  </a:cubicBezTo>
                  <a:cubicBezTo>
                    <a:pt x="197" y="88"/>
                    <a:pt x="200" y="91"/>
                    <a:pt x="207" y="96"/>
                  </a:cubicBezTo>
                  <a:cubicBezTo>
                    <a:pt x="207" y="96"/>
                    <a:pt x="207" y="96"/>
                    <a:pt x="207" y="96"/>
                  </a:cubicBezTo>
                  <a:cubicBezTo>
                    <a:pt x="207" y="97"/>
                    <a:pt x="207" y="97"/>
                    <a:pt x="207" y="97"/>
                  </a:cubicBezTo>
                  <a:cubicBezTo>
                    <a:pt x="207" y="97"/>
                    <a:pt x="207" y="97"/>
                    <a:pt x="207" y="97"/>
                  </a:cubicBezTo>
                  <a:cubicBezTo>
                    <a:pt x="208" y="97"/>
                    <a:pt x="208" y="97"/>
                    <a:pt x="208" y="97"/>
                  </a:cubicBezTo>
                  <a:cubicBezTo>
                    <a:pt x="208" y="97"/>
                    <a:pt x="208" y="97"/>
                    <a:pt x="208" y="97"/>
                  </a:cubicBezTo>
                  <a:cubicBezTo>
                    <a:pt x="211" y="101"/>
                    <a:pt x="212" y="105"/>
                    <a:pt x="211" y="110"/>
                  </a:cubicBezTo>
                  <a:cubicBezTo>
                    <a:pt x="211" y="110"/>
                    <a:pt x="211" y="110"/>
                    <a:pt x="211" y="110"/>
                  </a:cubicBezTo>
                  <a:cubicBezTo>
                    <a:pt x="211" y="110"/>
                    <a:pt x="211" y="110"/>
                    <a:pt x="211" y="110"/>
                  </a:cubicBezTo>
                  <a:cubicBezTo>
                    <a:pt x="210" y="113"/>
                    <a:pt x="210" y="117"/>
                    <a:pt x="209" y="120"/>
                  </a:cubicBezTo>
                  <a:cubicBezTo>
                    <a:pt x="215" y="119"/>
                    <a:pt x="215" y="119"/>
                    <a:pt x="215" y="119"/>
                  </a:cubicBezTo>
                  <a:cubicBezTo>
                    <a:pt x="219" y="118"/>
                    <a:pt x="224" y="116"/>
                    <a:pt x="228" y="116"/>
                  </a:cubicBezTo>
                  <a:cubicBezTo>
                    <a:pt x="228" y="113"/>
                    <a:pt x="229" y="110"/>
                    <a:pt x="229" y="108"/>
                  </a:cubicBezTo>
                  <a:cubicBezTo>
                    <a:pt x="231" y="102"/>
                    <a:pt x="233" y="96"/>
                    <a:pt x="235" y="87"/>
                  </a:cubicBezTo>
                  <a:cubicBezTo>
                    <a:pt x="236" y="87"/>
                    <a:pt x="236" y="87"/>
                    <a:pt x="236" y="87"/>
                  </a:cubicBezTo>
                  <a:cubicBezTo>
                    <a:pt x="236" y="86"/>
                    <a:pt x="236" y="86"/>
                    <a:pt x="236" y="86"/>
                  </a:cubicBezTo>
                  <a:cubicBezTo>
                    <a:pt x="236" y="86"/>
                    <a:pt x="236" y="86"/>
                    <a:pt x="236" y="86"/>
                  </a:cubicBezTo>
                  <a:cubicBezTo>
                    <a:pt x="236" y="84"/>
                    <a:pt x="237" y="82"/>
                    <a:pt x="237" y="81"/>
                  </a:cubicBezTo>
                  <a:cubicBezTo>
                    <a:pt x="237" y="80"/>
                    <a:pt x="237" y="80"/>
                    <a:pt x="237" y="80"/>
                  </a:cubicBezTo>
                  <a:cubicBezTo>
                    <a:pt x="206" y="82"/>
                    <a:pt x="206" y="82"/>
                    <a:pt x="206" y="82"/>
                  </a:cubicBezTo>
                  <a:cubicBezTo>
                    <a:pt x="206" y="82"/>
                    <a:pt x="206" y="82"/>
                    <a:pt x="206" y="82"/>
                  </a:cubicBezTo>
                  <a:cubicBezTo>
                    <a:pt x="205" y="82"/>
                    <a:pt x="203" y="80"/>
                    <a:pt x="203" y="79"/>
                  </a:cubicBezTo>
                  <a:lnTo>
                    <a:pt x="18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94" name="Freeform 33">
              <a:extLst>
                <a:ext uri="{FF2B5EF4-FFF2-40B4-BE49-F238E27FC236}">
                  <a16:creationId xmlns:a16="http://schemas.microsoft.com/office/drawing/2014/main" id="{1253F121-F6CF-DE56-BC1E-F1A901ED2A98}"/>
                </a:ext>
              </a:extLst>
            </p:cNvPr>
            <p:cNvSpPr>
              <a:spLocks/>
            </p:cNvSpPr>
            <p:nvPr/>
          </p:nvSpPr>
          <p:spPr bwMode="auto">
            <a:xfrm>
              <a:off x="7484223" y="2834039"/>
              <a:ext cx="187579" cy="463519"/>
            </a:xfrm>
            <a:custGeom>
              <a:avLst/>
              <a:gdLst>
                <a:gd name="T0" fmla="*/ 47 w 68"/>
                <a:gd name="T1" fmla="*/ 0 h 167"/>
                <a:gd name="T2" fmla="*/ 12 w 68"/>
                <a:gd name="T3" fmla="*/ 5 h 167"/>
                <a:gd name="T4" fmla="*/ 1 w 68"/>
                <a:gd name="T5" fmla="*/ 45 h 167"/>
                <a:gd name="T6" fmla="*/ 30 w 68"/>
                <a:gd name="T7" fmla="*/ 78 h 167"/>
                <a:gd name="T8" fmla="*/ 30 w 68"/>
                <a:gd name="T9" fmla="*/ 80 h 167"/>
                <a:gd name="T10" fmla="*/ 7 w 68"/>
                <a:gd name="T11" fmla="*/ 102 h 167"/>
                <a:gd name="T12" fmla="*/ 0 w 68"/>
                <a:gd name="T13" fmla="*/ 109 h 167"/>
                <a:gd name="T14" fmla="*/ 15 w 68"/>
                <a:gd name="T15" fmla="*/ 143 h 167"/>
                <a:gd name="T16" fmla="*/ 16 w 68"/>
                <a:gd name="T17" fmla="*/ 144 h 167"/>
                <a:gd name="T18" fmla="*/ 18 w 68"/>
                <a:gd name="T19" fmla="*/ 146 h 167"/>
                <a:gd name="T20" fmla="*/ 37 w 68"/>
                <a:gd name="T21" fmla="*/ 150 h 167"/>
                <a:gd name="T22" fmla="*/ 41 w 68"/>
                <a:gd name="T23" fmla="*/ 167 h 167"/>
                <a:gd name="T24" fmla="*/ 49 w 68"/>
                <a:gd name="T25" fmla="*/ 143 h 167"/>
                <a:gd name="T26" fmla="*/ 61 w 68"/>
                <a:gd name="T27" fmla="*/ 119 h 167"/>
                <a:gd name="T28" fmla="*/ 68 w 68"/>
                <a:gd name="T29" fmla="*/ 69 h 167"/>
                <a:gd name="T30" fmla="*/ 50 w 68"/>
                <a:gd name="T31" fmla="*/ 51 h 167"/>
                <a:gd name="T32" fmla="*/ 49 w 68"/>
                <a:gd name="T33" fmla="*/ 51 h 167"/>
                <a:gd name="T34" fmla="*/ 49 w 68"/>
                <a:gd name="T35" fmla="*/ 51 h 167"/>
                <a:gd name="T36" fmla="*/ 47 w 68"/>
                <a:gd name="T37" fmla="*/ 49 h 167"/>
                <a:gd name="T38" fmla="*/ 47 w 68"/>
                <a:gd name="T39" fmla="*/ 49 h 167"/>
                <a:gd name="T40" fmla="*/ 47 w 68"/>
                <a:gd name="T41" fmla="*/ 48 h 167"/>
                <a:gd name="T42" fmla="*/ 47 w 68"/>
                <a:gd name="T43" fmla="*/ 48 h 167"/>
                <a:gd name="T44" fmla="*/ 47 w 68"/>
                <a:gd name="T45" fmla="*/ 48 h 167"/>
                <a:gd name="T46" fmla="*/ 47 w 68"/>
                <a:gd name="T47" fmla="*/ 48 h 167"/>
                <a:gd name="T48" fmla="*/ 47 w 68"/>
                <a:gd name="T49" fmla="*/ 48 h 167"/>
                <a:gd name="T50" fmla="*/ 56 w 68"/>
                <a:gd name="T51" fmla="*/ 39 h 167"/>
                <a:gd name="T52" fmla="*/ 47 w 68"/>
                <a:gd name="T5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 h="167">
                  <a:moveTo>
                    <a:pt x="47" y="0"/>
                  </a:moveTo>
                  <a:cubicBezTo>
                    <a:pt x="12" y="5"/>
                    <a:pt x="12" y="5"/>
                    <a:pt x="12" y="5"/>
                  </a:cubicBezTo>
                  <a:cubicBezTo>
                    <a:pt x="1" y="45"/>
                    <a:pt x="1" y="45"/>
                    <a:pt x="1" y="45"/>
                  </a:cubicBezTo>
                  <a:cubicBezTo>
                    <a:pt x="30" y="78"/>
                    <a:pt x="30" y="78"/>
                    <a:pt x="30" y="78"/>
                  </a:cubicBezTo>
                  <a:cubicBezTo>
                    <a:pt x="30" y="80"/>
                    <a:pt x="30" y="80"/>
                    <a:pt x="30" y="80"/>
                  </a:cubicBezTo>
                  <a:cubicBezTo>
                    <a:pt x="30" y="87"/>
                    <a:pt x="9" y="100"/>
                    <a:pt x="7" y="102"/>
                  </a:cubicBezTo>
                  <a:cubicBezTo>
                    <a:pt x="0" y="109"/>
                    <a:pt x="0" y="109"/>
                    <a:pt x="0" y="109"/>
                  </a:cubicBezTo>
                  <a:cubicBezTo>
                    <a:pt x="15" y="143"/>
                    <a:pt x="15" y="143"/>
                    <a:pt x="15" y="143"/>
                  </a:cubicBezTo>
                  <a:cubicBezTo>
                    <a:pt x="16" y="144"/>
                    <a:pt x="16" y="144"/>
                    <a:pt x="16" y="144"/>
                  </a:cubicBezTo>
                  <a:cubicBezTo>
                    <a:pt x="18" y="146"/>
                    <a:pt x="18" y="146"/>
                    <a:pt x="18" y="146"/>
                  </a:cubicBezTo>
                  <a:cubicBezTo>
                    <a:pt x="25" y="150"/>
                    <a:pt x="37" y="150"/>
                    <a:pt x="37" y="150"/>
                  </a:cubicBezTo>
                  <a:cubicBezTo>
                    <a:pt x="41" y="167"/>
                    <a:pt x="41" y="167"/>
                    <a:pt x="41" y="167"/>
                  </a:cubicBezTo>
                  <a:cubicBezTo>
                    <a:pt x="41" y="167"/>
                    <a:pt x="46" y="152"/>
                    <a:pt x="49" y="143"/>
                  </a:cubicBezTo>
                  <a:cubicBezTo>
                    <a:pt x="53" y="134"/>
                    <a:pt x="58" y="128"/>
                    <a:pt x="61" y="119"/>
                  </a:cubicBezTo>
                  <a:cubicBezTo>
                    <a:pt x="65" y="109"/>
                    <a:pt x="68" y="77"/>
                    <a:pt x="68" y="69"/>
                  </a:cubicBezTo>
                  <a:cubicBezTo>
                    <a:pt x="68" y="62"/>
                    <a:pt x="58" y="56"/>
                    <a:pt x="50" y="51"/>
                  </a:cubicBezTo>
                  <a:cubicBezTo>
                    <a:pt x="49" y="51"/>
                    <a:pt x="49" y="51"/>
                    <a:pt x="49" y="51"/>
                  </a:cubicBezTo>
                  <a:cubicBezTo>
                    <a:pt x="49" y="51"/>
                    <a:pt x="49" y="51"/>
                    <a:pt x="49" y="51"/>
                  </a:cubicBezTo>
                  <a:cubicBezTo>
                    <a:pt x="48" y="50"/>
                    <a:pt x="47" y="49"/>
                    <a:pt x="47" y="49"/>
                  </a:cubicBezTo>
                  <a:cubicBezTo>
                    <a:pt x="47" y="49"/>
                    <a:pt x="47" y="49"/>
                    <a:pt x="47" y="49"/>
                  </a:cubicBezTo>
                  <a:cubicBezTo>
                    <a:pt x="47" y="48"/>
                    <a:pt x="47" y="48"/>
                    <a:pt x="47" y="48"/>
                  </a:cubicBezTo>
                  <a:cubicBezTo>
                    <a:pt x="47" y="48"/>
                    <a:pt x="47" y="48"/>
                    <a:pt x="47" y="48"/>
                  </a:cubicBezTo>
                  <a:cubicBezTo>
                    <a:pt x="47" y="48"/>
                    <a:pt x="47" y="48"/>
                    <a:pt x="47" y="48"/>
                  </a:cubicBezTo>
                  <a:cubicBezTo>
                    <a:pt x="47" y="48"/>
                    <a:pt x="47" y="48"/>
                    <a:pt x="47" y="48"/>
                  </a:cubicBezTo>
                  <a:cubicBezTo>
                    <a:pt x="47" y="48"/>
                    <a:pt x="47" y="48"/>
                    <a:pt x="47" y="48"/>
                  </a:cubicBezTo>
                  <a:cubicBezTo>
                    <a:pt x="45" y="44"/>
                    <a:pt x="51" y="41"/>
                    <a:pt x="56" y="39"/>
                  </a:cubicBezTo>
                  <a:cubicBezTo>
                    <a:pt x="53" y="23"/>
                    <a:pt x="47" y="0"/>
                    <a:pt x="47" y="0"/>
                  </a:cubicBezTo>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95" name="Freeform 34">
              <a:extLst>
                <a:ext uri="{FF2B5EF4-FFF2-40B4-BE49-F238E27FC236}">
                  <a16:creationId xmlns:a16="http://schemas.microsoft.com/office/drawing/2014/main" id="{22D254C1-CF68-DF9D-37EC-DD309F67E56F}"/>
                </a:ext>
              </a:extLst>
            </p:cNvPr>
            <p:cNvSpPr>
              <a:spLocks/>
            </p:cNvSpPr>
            <p:nvPr/>
          </p:nvSpPr>
          <p:spPr bwMode="auto">
            <a:xfrm>
              <a:off x="7505926" y="3525441"/>
              <a:ext cx="57359" cy="125569"/>
            </a:xfrm>
            <a:custGeom>
              <a:avLst/>
              <a:gdLst>
                <a:gd name="T0" fmla="*/ 21 w 21"/>
                <a:gd name="T1" fmla="*/ 0 h 45"/>
                <a:gd name="T2" fmla="*/ 2 w 21"/>
                <a:gd name="T3" fmla="*/ 5 h 45"/>
                <a:gd name="T4" fmla="*/ 1 w 21"/>
                <a:gd name="T5" fmla="*/ 31 h 45"/>
                <a:gd name="T6" fmla="*/ 1 w 21"/>
                <a:gd name="T7" fmla="*/ 31 h 45"/>
                <a:gd name="T8" fmla="*/ 1 w 21"/>
                <a:gd name="T9" fmla="*/ 32 h 45"/>
                <a:gd name="T10" fmla="*/ 1 w 21"/>
                <a:gd name="T11" fmla="*/ 32 h 45"/>
                <a:gd name="T12" fmla="*/ 1 w 21"/>
                <a:gd name="T13" fmla="*/ 33 h 45"/>
                <a:gd name="T14" fmla="*/ 1 w 21"/>
                <a:gd name="T15" fmla="*/ 33 h 45"/>
                <a:gd name="T16" fmla="*/ 1 w 21"/>
                <a:gd name="T17" fmla="*/ 34 h 45"/>
                <a:gd name="T18" fmla="*/ 1 w 21"/>
                <a:gd name="T19" fmla="*/ 35 h 45"/>
                <a:gd name="T20" fmla="*/ 3 w 21"/>
                <a:gd name="T21" fmla="*/ 43 h 45"/>
                <a:gd name="T22" fmla="*/ 6 w 21"/>
                <a:gd name="T23" fmla="*/ 45 h 45"/>
                <a:gd name="T24" fmla="*/ 10 w 21"/>
                <a:gd name="T25" fmla="*/ 42 h 45"/>
                <a:gd name="T26" fmla="*/ 14 w 21"/>
                <a:gd name="T27" fmla="*/ 20 h 45"/>
                <a:gd name="T28" fmla="*/ 21 w 21"/>
                <a:gd name="T2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45">
                  <a:moveTo>
                    <a:pt x="21" y="0"/>
                  </a:moveTo>
                  <a:cubicBezTo>
                    <a:pt x="15" y="1"/>
                    <a:pt x="7" y="3"/>
                    <a:pt x="2" y="5"/>
                  </a:cubicBezTo>
                  <a:cubicBezTo>
                    <a:pt x="0" y="15"/>
                    <a:pt x="1" y="22"/>
                    <a:pt x="1" y="31"/>
                  </a:cubicBezTo>
                  <a:cubicBezTo>
                    <a:pt x="1" y="31"/>
                    <a:pt x="1" y="31"/>
                    <a:pt x="1" y="31"/>
                  </a:cubicBezTo>
                  <a:cubicBezTo>
                    <a:pt x="1" y="32"/>
                    <a:pt x="1" y="32"/>
                    <a:pt x="1" y="32"/>
                  </a:cubicBezTo>
                  <a:cubicBezTo>
                    <a:pt x="1" y="32"/>
                    <a:pt x="1" y="32"/>
                    <a:pt x="1" y="32"/>
                  </a:cubicBezTo>
                  <a:cubicBezTo>
                    <a:pt x="1" y="33"/>
                    <a:pt x="1" y="33"/>
                    <a:pt x="1" y="33"/>
                  </a:cubicBezTo>
                  <a:cubicBezTo>
                    <a:pt x="1" y="33"/>
                    <a:pt x="1" y="33"/>
                    <a:pt x="1" y="33"/>
                  </a:cubicBezTo>
                  <a:cubicBezTo>
                    <a:pt x="1" y="34"/>
                    <a:pt x="1" y="34"/>
                    <a:pt x="1" y="34"/>
                  </a:cubicBezTo>
                  <a:cubicBezTo>
                    <a:pt x="1" y="35"/>
                    <a:pt x="1" y="35"/>
                    <a:pt x="1" y="35"/>
                  </a:cubicBezTo>
                  <a:cubicBezTo>
                    <a:pt x="1" y="39"/>
                    <a:pt x="2" y="41"/>
                    <a:pt x="3" y="43"/>
                  </a:cubicBezTo>
                  <a:cubicBezTo>
                    <a:pt x="3" y="44"/>
                    <a:pt x="5" y="45"/>
                    <a:pt x="6" y="45"/>
                  </a:cubicBezTo>
                  <a:cubicBezTo>
                    <a:pt x="7" y="45"/>
                    <a:pt x="9" y="44"/>
                    <a:pt x="10" y="42"/>
                  </a:cubicBezTo>
                  <a:cubicBezTo>
                    <a:pt x="14" y="38"/>
                    <a:pt x="10" y="32"/>
                    <a:pt x="14" y="20"/>
                  </a:cubicBezTo>
                  <a:cubicBezTo>
                    <a:pt x="18" y="8"/>
                    <a:pt x="19" y="12"/>
                    <a:pt x="21"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96" name="Freeform 35">
              <a:extLst>
                <a:ext uri="{FF2B5EF4-FFF2-40B4-BE49-F238E27FC236}">
                  <a16:creationId xmlns:a16="http://schemas.microsoft.com/office/drawing/2014/main" id="{2B1785A7-E0C4-6BC5-FABB-34A75D57F0AC}"/>
                </a:ext>
              </a:extLst>
            </p:cNvPr>
            <p:cNvSpPr>
              <a:spLocks/>
            </p:cNvSpPr>
            <p:nvPr/>
          </p:nvSpPr>
          <p:spPr bwMode="auto">
            <a:xfrm>
              <a:off x="7453218" y="3153386"/>
              <a:ext cx="141071" cy="241836"/>
            </a:xfrm>
            <a:custGeom>
              <a:avLst/>
              <a:gdLst>
                <a:gd name="T0" fmla="*/ 7 w 51"/>
                <a:gd name="T1" fmla="*/ 0 h 87"/>
                <a:gd name="T2" fmla="*/ 0 w 51"/>
                <a:gd name="T3" fmla="*/ 7 h 87"/>
                <a:gd name="T4" fmla="*/ 21 w 51"/>
                <a:gd name="T5" fmla="*/ 87 h 87"/>
                <a:gd name="T6" fmla="*/ 51 w 51"/>
                <a:gd name="T7" fmla="*/ 86 h 87"/>
                <a:gd name="T8" fmla="*/ 50 w 51"/>
                <a:gd name="T9" fmla="*/ 79 h 87"/>
                <a:gd name="T10" fmla="*/ 50 w 51"/>
                <a:gd name="T11" fmla="*/ 79 h 87"/>
                <a:gd name="T12" fmla="*/ 50 w 51"/>
                <a:gd name="T13" fmla="*/ 79 h 87"/>
                <a:gd name="T14" fmla="*/ 46 w 51"/>
                <a:gd name="T15" fmla="*/ 65 h 87"/>
                <a:gd name="T16" fmla="*/ 23 w 51"/>
                <a:gd name="T17" fmla="*/ 48 h 87"/>
                <a:gd name="T18" fmla="*/ 17 w 51"/>
                <a:gd name="T19" fmla="*/ 24 h 87"/>
                <a:gd name="T20" fmla="*/ 17 w 51"/>
                <a:gd name="T21" fmla="*/ 24 h 87"/>
                <a:gd name="T22" fmla="*/ 18 w 51"/>
                <a:gd name="T23" fmla="*/ 24 h 87"/>
                <a:gd name="T24" fmla="*/ 7 w 51"/>
                <a:gd name="T2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87">
                  <a:moveTo>
                    <a:pt x="7" y="0"/>
                  </a:moveTo>
                  <a:cubicBezTo>
                    <a:pt x="0" y="7"/>
                    <a:pt x="0" y="7"/>
                    <a:pt x="0" y="7"/>
                  </a:cubicBezTo>
                  <a:cubicBezTo>
                    <a:pt x="21" y="87"/>
                    <a:pt x="21" y="87"/>
                    <a:pt x="21" y="87"/>
                  </a:cubicBezTo>
                  <a:cubicBezTo>
                    <a:pt x="51" y="86"/>
                    <a:pt x="51" y="86"/>
                    <a:pt x="51" y="86"/>
                  </a:cubicBezTo>
                  <a:cubicBezTo>
                    <a:pt x="51" y="84"/>
                    <a:pt x="50" y="81"/>
                    <a:pt x="50" y="79"/>
                  </a:cubicBezTo>
                  <a:cubicBezTo>
                    <a:pt x="50" y="79"/>
                    <a:pt x="50" y="79"/>
                    <a:pt x="50" y="79"/>
                  </a:cubicBezTo>
                  <a:cubicBezTo>
                    <a:pt x="50" y="79"/>
                    <a:pt x="50" y="79"/>
                    <a:pt x="50" y="79"/>
                  </a:cubicBezTo>
                  <a:cubicBezTo>
                    <a:pt x="49" y="74"/>
                    <a:pt x="48" y="69"/>
                    <a:pt x="46" y="65"/>
                  </a:cubicBezTo>
                  <a:cubicBezTo>
                    <a:pt x="42" y="55"/>
                    <a:pt x="24" y="51"/>
                    <a:pt x="23" y="48"/>
                  </a:cubicBezTo>
                  <a:cubicBezTo>
                    <a:pt x="22" y="45"/>
                    <a:pt x="16" y="26"/>
                    <a:pt x="17" y="24"/>
                  </a:cubicBezTo>
                  <a:cubicBezTo>
                    <a:pt x="17" y="24"/>
                    <a:pt x="17" y="24"/>
                    <a:pt x="17" y="24"/>
                  </a:cubicBezTo>
                  <a:cubicBezTo>
                    <a:pt x="18" y="24"/>
                    <a:pt x="18" y="24"/>
                    <a:pt x="18" y="24"/>
                  </a:cubicBezTo>
                  <a:lnTo>
                    <a:pt x="7" y="0"/>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97" name="Freeform 36">
              <a:extLst>
                <a:ext uri="{FF2B5EF4-FFF2-40B4-BE49-F238E27FC236}">
                  <a16:creationId xmlns:a16="http://schemas.microsoft.com/office/drawing/2014/main" id="{BE1EDFB5-8A5F-1AD0-40EA-30F0BBBA4C34}"/>
                </a:ext>
              </a:extLst>
            </p:cNvPr>
            <p:cNvSpPr>
              <a:spLocks/>
            </p:cNvSpPr>
            <p:nvPr/>
          </p:nvSpPr>
          <p:spPr bwMode="auto">
            <a:xfrm>
              <a:off x="7668701" y="2626308"/>
              <a:ext cx="240286" cy="232534"/>
            </a:xfrm>
            <a:custGeom>
              <a:avLst/>
              <a:gdLst>
                <a:gd name="T0" fmla="*/ 74 w 87"/>
                <a:gd name="T1" fmla="*/ 0 h 84"/>
                <a:gd name="T2" fmla="*/ 0 w 87"/>
                <a:gd name="T3" fmla="*/ 17 h 84"/>
                <a:gd name="T4" fmla="*/ 9 w 87"/>
                <a:gd name="T5" fmla="*/ 68 h 84"/>
                <a:gd name="T6" fmla="*/ 9 w 87"/>
                <a:gd name="T7" fmla="*/ 69 h 84"/>
                <a:gd name="T8" fmla="*/ 8 w 87"/>
                <a:gd name="T9" fmla="*/ 71 h 84"/>
                <a:gd name="T10" fmla="*/ 2 w 87"/>
                <a:gd name="T11" fmla="*/ 77 h 84"/>
                <a:gd name="T12" fmla="*/ 10 w 87"/>
                <a:gd name="T13" fmla="*/ 84 h 84"/>
                <a:gd name="T14" fmla="*/ 17 w 87"/>
                <a:gd name="T15" fmla="*/ 77 h 84"/>
                <a:gd name="T16" fmla="*/ 43 w 87"/>
                <a:gd name="T17" fmla="*/ 56 h 84"/>
                <a:gd name="T18" fmla="*/ 44 w 87"/>
                <a:gd name="T19" fmla="*/ 56 h 84"/>
                <a:gd name="T20" fmla="*/ 44 w 87"/>
                <a:gd name="T21" fmla="*/ 56 h 84"/>
                <a:gd name="T22" fmla="*/ 44 w 87"/>
                <a:gd name="T23" fmla="*/ 56 h 84"/>
                <a:gd name="T24" fmla="*/ 44 w 87"/>
                <a:gd name="T25" fmla="*/ 56 h 84"/>
                <a:gd name="T26" fmla="*/ 44 w 87"/>
                <a:gd name="T27" fmla="*/ 56 h 84"/>
                <a:gd name="T28" fmla="*/ 87 w 87"/>
                <a:gd name="T29" fmla="*/ 42 h 84"/>
                <a:gd name="T30" fmla="*/ 74 w 87"/>
                <a:gd name="T3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84">
                  <a:moveTo>
                    <a:pt x="74" y="0"/>
                  </a:moveTo>
                  <a:cubicBezTo>
                    <a:pt x="0" y="17"/>
                    <a:pt x="0" y="17"/>
                    <a:pt x="0" y="17"/>
                  </a:cubicBezTo>
                  <a:cubicBezTo>
                    <a:pt x="9" y="68"/>
                    <a:pt x="9" y="68"/>
                    <a:pt x="9" y="68"/>
                  </a:cubicBezTo>
                  <a:cubicBezTo>
                    <a:pt x="9" y="69"/>
                    <a:pt x="9" y="69"/>
                    <a:pt x="9" y="69"/>
                  </a:cubicBezTo>
                  <a:cubicBezTo>
                    <a:pt x="8" y="71"/>
                    <a:pt x="8" y="71"/>
                    <a:pt x="8" y="71"/>
                  </a:cubicBezTo>
                  <a:cubicBezTo>
                    <a:pt x="2" y="77"/>
                    <a:pt x="2" y="77"/>
                    <a:pt x="2" y="77"/>
                  </a:cubicBezTo>
                  <a:cubicBezTo>
                    <a:pt x="10" y="84"/>
                    <a:pt x="10" y="84"/>
                    <a:pt x="10" y="84"/>
                  </a:cubicBezTo>
                  <a:cubicBezTo>
                    <a:pt x="12" y="82"/>
                    <a:pt x="14" y="79"/>
                    <a:pt x="17" y="77"/>
                  </a:cubicBezTo>
                  <a:cubicBezTo>
                    <a:pt x="26" y="70"/>
                    <a:pt x="33" y="62"/>
                    <a:pt x="43" y="56"/>
                  </a:cubicBezTo>
                  <a:cubicBezTo>
                    <a:pt x="44" y="56"/>
                    <a:pt x="44" y="56"/>
                    <a:pt x="44" y="56"/>
                  </a:cubicBezTo>
                  <a:cubicBezTo>
                    <a:pt x="44" y="56"/>
                    <a:pt x="44" y="56"/>
                    <a:pt x="44" y="56"/>
                  </a:cubicBezTo>
                  <a:cubicBezTo>
                    <a:pt x="44" y="56"/>
                    <a:pt x="44" y="56"/>
                    <a:pt x="44" y="56"/>
                  </a:cubicBezTo>
                  <a:cubicBezTo>
                    <a:pt x="44" y="56"/>
                    <a:pt x="44" y="56"/>
                    <a:pt x="44" y="56"/>
                  </a:cubicBezTo>
                  <a:cubicBezTo>
                    <a:pt x="44" y="56"/>
                    <a:pt x="44" y="56"/>
                    <a:pt x="44" y="56"/>
                  </a:cubicBezTo>
                  <a:cubicBezTo>
                    <a:pt x="53" y="51"/>
                    <a:pt x="75" y="45"/>
                    <a:pt x="87" y="42"/>
                  </a:cubicBezTo>
                  <a:lnTo>
                    <a:pt x="7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98" name="Freeform 37">
              <a:extLst>
                <a:ext uri="{FF2B5EF4-FFF2-40B4-BE49-F238E27FC236}">
                  <a16:creationId xmlns:a16="http://schemas.microsoft.com/office/drawing/2014/main" id="{BE75A858-FFDA-DD48-4D62-D49B94BAC83A}"/>
                </a:ext>
              </a:extLst>
            </p:cNvPr>
            <p:cNvSpPr>
              <a:spLocks/>
            </p:cNvSpPr>
            <p:nvPr/>
          </p:nvSpPr>
          <p:spPr bwMode="auto">
            <a:xfrm>
              <a:off x="7890383" y="2615457"/>
              <a:ext cx="88363" cy="122469"/>
            </a:xfrm>
            <a:custGeom>
              <a:avLst/>
              <a:gdLst>
                <a:gd name="T0" fmla="*/ 12 w 32"/>
                <a:gd name="T1" fmla="*/ 0 h 44"/>
                <a:gd name="T2" fmla="*/ 0 w 32"/>
                <a:gd name="T3" fmla="*/ 2 h 44"/>
                <a:gd name="T4" fmla="*/ 13 w 32"/>
                <a:gd name="T5" fmla="*/ 44 h 44"/>
                <a:gd name="T6" fmla="*/ 17 w 32"/>
                <a:gd name="T7" fmla="*/ 37 h 44"/>
                <a:gd name="T8" fmla="*/ 14 w 32"/>
                <a:gd name="T9" fmla="*/ 14 h 44"/>
                <a:gd name="T10" fmla="*/ 14 w 32"/>
                <a:gd name="T11" fmla="*/ 11 h 44"/>
                <a:gd name="T12" fmla="*/ 15 w 32"/>
                <a:gd name="T13" fmla="*/ 8 h 44"/>
                <a:gd name="T14" fmla="*/ 16 w 32"/>
                <a:gd name="T15" fmla="*/ 7 h 44"/>
                <a:gd name="T16" fmla="*/ 16 w 32"/>
                <a:gd name="T17" fmla="*/ 7 h 44"/>
                <a:gd name="T18" fmla="*/ 24 w 32"/>
                <a:gd name="T19" fmla="*/ 17 h 44"/>
                <a:gd name="T20" fmla="*/ 27 w 32"/>
                <a:gd name="T21" fmla="*/ 18 h 44"/>
                <a:gd name="T22" fmla="*/ 27 w 32"/>
                <a:gd name="T23" fmla="*/ 18 h 44"/>
                <a:gd name="T24" fmla="*/ 30 w 32"/>
                <a:gd name="T25" fmla="*/ 18 h 44"/>
                <a:gd name="T26" fmla="*/ 32 w 32"/>
                <a:gd name="T27" fmla="*/ 18 h 44"/>
                <a:gd name="T28" fmla="*/ 12 w 32"/>
                <a:gd name="T2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44">
                  <a:moveTo>
                    <a:pt x="12" y="0"/>
                  </a:moveTo>
                  <a:cubicBezTo>
                    <a:pt x="0" y="2"/>
                    <a:pt x="0" y="2"/>
                    <a:pt x="0" y="2"/>
                  </a:cubicBezTo>
                  <a:cubicBezTo>
                    <a:pt x="13" y="44"/>
                    <a:pt x="13" y="44"/>
                    <a:pt x="13" y="44"/>
                  </a:cubicBezTo>
                  <a:cubicBezTo>
                    <a:pt x="16" y="44"/>
                    <a:pt x="17" y="41"/>
                    <a:pt x="17" y="37"/>
                  </a:cubicBezTo>
                  <a:cubicBezTo>
                    <a:pt x="17" y="32"/>
                    <a:pt x="15" y="24"/>
                    <a:pt x="14" y="14"/>
                  </a:cubicBezTo>
                  <a:cubicBezTo>
                    <a:pt x="14" y="13"/>
                    <a:pt x="14" y="12"/>
                    <a:pt x="14" y="11"/>
                  </a:cubicBezTo>
                  <a:cubicBezTo>
                    <a:pt x="14" y="10"/>
                    <a:pt x="14" y="9"/>
                    <a:pt x="15" y="8"/>
                  </a:cubicBezTo>
                  <a:cubicBezTo>
                    <a:pt x="16" y="7"/>
                    <a:pt x="16" y="7"/>
                    <a:pt x="16" y="7"/>
                  </a:cubicBezTo>
                  <a:cubicBezTo>
                    <a:pt x="16" y="7"/>
                    <a:pt x="16" y="7"/>
                    <a:pt x="16" y="7"/>
                  </a:cubicBezTo>
                  <a:cubicBezTo>
                    <a:pt x="18" y="7"/>
                    <a:pt x="22" y="14"/>
                    <a:pt x="24" y="17"/>
                  </a:cubicBezTo>
                  <a:cubicBezTo>
                    <a:pt x="24" y="18"/>
                    <a:pt x="26" y="18"/>
                    <a:pt x="27" y="18"/>
                  </a:cubicBezTo>
                  <a:cubicBezTo>
                    <a:pt x="27" y="18"/>
                    <a:pt x="27" y="18"/>
                    <a:pt x="27" y="18"/>
                  </a:cubicBezTo>
                  <a:cubicBezTo>
                    <a:pt x="28" y="18"/>
                    <a:pt x="29" y="18"/>
                    <a:pt x="30" y="18"/>
                  </a:cubicBezTo>
                  <a:cubicBezTo>
                    <a:pt x="32" y="18"/>
                    <a:pt x="32" y="18"/>
                    <a:pt x="32" y="18"/>
                  </a:cubicBezTo>
                  <a:lnTo>
                    <a:pt x="1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99" name="Freeform 11">
              <a:extLst>
                <a:ext uri="{FF2B5EF4-FFF2-40B4-BE49-F238E27FC236}">
                  <a16:creationId xmlns:a16="http://schemas.microsoft.com/office/drawing/2014/main" id="{519C815A-DB23-64CB-AB2A-4C72BEE5BC06}"/>
                </a:ext>
              </a:extLst>
            </p:cNvPr>
            <p:cNvSpPr>
              <a:spLocks/>
            </p:cNvSpPr>
            <p:nvPr/>
          </p:nvSpPr>
          <p:spPr bwMode="auto">
            <a:xfrm>
              <a:off x="6144825" y="2900699"/>
              <a:ext cx="592188" cy="677451"/>
            </a:xfrm>
            <a:custGeom>
              <a:avLst/>
              <a:gdLst>
                <a:gd name="T0" fmla="*/ 201 w 214"/>
                <a:gd name="T1" fmla="*/ 0 h 244"/>
                <a:gd name="T2" fmla="*/ 200 w 214"/>
                <a:gd name="T3" fmla="*/ 1 h 244"/>
                <a:gd name="T4" fmla="*/ 200 w 214"/>
                <a:gd name="T5" fmla="*/ 1 h 244"/>
                <a:gd name="T6" fmla="*/ 199 w 214"/>
                <a:gd name="T7" fmla="*/ 1 h 244"/>
                <a:gd name="T8" fmla="*/ 199 w 214"/>
                <a:gd name="T9" fmla="*/ 1 h 244"/>
                <a:gd name="T10" fmla="*/ 198 w 214"/>
                <a:gd name="T11" fmla="*/ 2 h 244"/>
                <a:gd name="T12" fmla="*/ 198 w 214"/>
                <a:gd name="T13" fmla="*/ 2 h 244"/>
                <a:gd name="T14" fmla="*/ 198 w 214"/>
                <a:gd name="T15" fmla="*/ 2 h 244"/>
                <a:gd name="T16" fmla="*/ 197 w 214"/>
                <a:gd name="T17" fmla="*/ 2 h 244"/>
                <a:gd name="T18" fmla="*/ 197 w 214"/>
                <a:gd name="T19" fmla="*/ 2 h 244"/>
                <a:gd name="T20" fmla="*/ 197 w 214"/>
                <a:gd name="T21" fmla="*/ 2 h 244"/>
                <a:gd name="T22" fmla="*/ 196 w 214"/>
                <a:gd name="T23" fmla="*/ 2 h 244"/>
                <a:gd name="T24" fmla="*/ 196 w 214"/>
                <a:gd name="T25" fmla="*/ 2 h 244"/>
                <a:gd name="T26" fmla="*/ 179 w 214"/>
                <a:gd name="T27" fmla="*/ 9 h 244"/>
                <a:gd name="T28" fmla="*/ 156 w 214"/>
                <a:gd name="T29" fmla="*/ 35 h 244"/>
                <a:gd name="T30" fmla="*/ 151 w 214"/>
                <a:gd name="T31" fmla="*/ 41 h 244"/>
                <a:gd name="T32" fmla="*/ 148 w 214"/>
                <a:gd name="T33" fmla="*/ 41 h 244"/>
                <a:gd name="T34" fmla="*/ 146 w 214"/>
                <a:gd name="T35" fmla="*/ 41 h 244"/>
                <a:gd name="T36" fmla="*/ 143 w 214"/>
                <a:gd name="T37" fmla="*/ 41 h 244"/>
                <a:gd name="T38" fmla="*/ 141 w 214"/>
                <a:gd name="T39" fmla="*/ 41 h 244"/>
                <a:gd name="T40" fmla="*/ 139 w 214"/>
                <a:gd name="T41" fmla="*/ 41 h 244"/>
                <a:gd name="T42" fmla="*/ 135 w 214"/>
                <a:gd name="T43" fmla="*/ 41 h 244"/>
                <a:gd name="T44" fmla="*/ 116 w 214"/>
                <a:gd name="T45" fmla="*/ 48 h 244"/>
                <a:gd name="T46" fmla="*/ 89 w 214"/>
                <a:gd name="T47" fmla="*/ 40 h 244"/>
                <a:gd name="T48" fmla="*/ 64 w 214"/>
                <a:gd name="T49" fmla="*/ 35 h 244"/>
                <a:gd name="T50" fmla="*/ 0 w 214"/>
                <a:gd name="T51" fmla="*/ 47 h 244"/>
                <a:gd name="T52" fmla="*/ 19 w 214"/>
                <a:gd name="T53" fmla="*/ 224 h 244"/>
                <a:gd name="T54" fmla="*/ 39 w 214"/>
                <a:gd name="T55" fmla="*/ 210 h 244"/>
                <a:gd name="T56" fmla="*/ 52 w 214"/>
                <a:gd name="T57" fmla="*/ 218 h 244"/>
                <a:gd name="T58" fmla="*/ 70 w 214"/>
                <a:gd name="T59" fmla="*/ 236 h 244"/>
                <a:gd name="T60" fmla="*/ 92 w 214"/>
                <a:gd name="T61" fmla="*/ 241 h 244"/>
                <a:gd name="T62" fmla="*/ 95 w 214"/>
                <a:gd name="T63" fmla="*/ 241 h 244"/>
                <a:gd name="T64" fmla="*/ 97 w 214"/>
                <a:gd name="T65" fmla="*/ 242 h 244"/>
                <a:gd name="T66" fmla="*/ 114 w 214"/>
                <a:gd name="T67" fmla="*/ 230 h 244"/>
                <a:gd name="T68" fmla="*/ 121 w 214"/>
                <a:gd name="T69" fmla="*/ 228 h 244"/>
                <a:gd name="T70" fmla="*/ 123 w 214"/>
                <a:gd name="T71" fmla="*/ 229 h 244"/>
                <a:gd name="T72" fmla="*/ 133 w 214"/>
                <a:gd name="T73" fmla="*/ 234 h 244"/>
                <a:gd name="T74" fmla="*/ 143 w 214"/>
                <a:gd name="T75" fmla="*/ 244 h 244"/>
                <a:gd name="T76" fmla="*/ 146 w 214"/>
                <a:gd name="T77" fmla="*/ 241 h 244"/>
                <a:gd name="T78" fmla="*/ 151 w 214"/>
                <a:gd name="T79" fmla="*/ 235 h 244"/>
                <a:gd name="T80" fmla="*/ 163 w 214"/>
                <a:gd name="T81" fmla="*/ 204 h 244"/>
                <a:gd name="T82" fmla="*/ 165 w 214"/>
                <a:gd name="T83" fmla="*/ 204 h 244"/>
                <a:gd name="T84" fmla="*/ 168 w 214"/>
                <a:gd name="T85" fmla="*/ 204 h 244"/>
                <a:gd name="T86" fmla="*/ 189 w 214"/>
                <a:gd name="T87" fmla="*/ 170 h 244"/>
                <a:gd name="T88" fmla="*/ 213 w 214"/>
                <a:gd name="T89" fmla="*/ 152 h 244"/>
                <a:gd name="T90" fmla="*/ 214 w 214"/>
                <a:gd name="T91" fmla="*/ 107 h 244"/>
                <a:gd name="T92" fmla="*/ 212 w 214"/>
                <a:gd name="T93" fmla="*/ 65 h 244"/>
                <a:gd name="T94" fmla="*/ 201 w 214"/>
                <a:gd name="T9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244">
                  <a:moveTo>
                    <a:pt x="201" y="0"/>
                  </a:moveTo>
                  <a:cubicBezTo>
                    <a:pt x="200" y="1"/>
                    <a:pt x="200" y="1"/>
                    <a:pt x="200" y="1"/>
                  </a:cubicBezTo>
                  <a:cubicBezTo>
                    <a:pt x="200" y="1"/>
                    <a:pt x="200" y="1"/>
                    <a:pt x="200" y="1"/>
                  </a:cubicBezTo>
                  <a:cubicBezTo>
                    <a:pt x="199" y="1"/>
                    <a:pt x="199" y="1"/>
                    <a:pt x="199" y="1"/>
                  </a:cubicBezTo>
                  <a:cubicBezTo>
                    <a:pt x="199" y="1"/>
                    <a:pt x="199" y="1"/>
                    <a:pt x="199" y="1"/>
                  </a:cubicBezTo>
                  <a:cubicBezTo>
                    <a:pt x="198" y="2"/>
                    <a:pt x="198" y="2"/>
                    <a:pt x="198" y="2"/>
                  </a:cubicBezTo>
                  <a:cubicBezTo>
                    <a:pt x="198" y="2"/>
                    <a:pt x="198" y="2"/>
                    <a:pt x="198" y="2"/>
                  </a:cubicBezTo>
                  <a:cubicBezTo>
                    <a:pt x="198" y="2"/>
                    <a:pt x="198" y="2"/>
                    <a:pt x="198" y="2"/>
                  </a:cubicBezTo>
                  <a:cubicBezTo>
                    <a:pt x="197" y="2"/>
                    <a:pt x="197" y="2"/>
                    <a:pt x="197" y="2"/>
                  </a:cubicBezTo>
                  <a:cubicBezTo>
                    <a:pt x="197" y="2"/>
                    <a:pt x="197" y="2"/>
                    <a:pt x="197" y="2"/>
                  </a:cubicBezTo>
                  <a:cubicBezTo>
                    <a:pt x="197" y="2"/>
                    <a:pt x="197" y="2"/>
                    <a:pt x="197" y="2"/>
                  </a:cubicBezTo>
                  <a:cubicBezTo>
                    <a:pt x="196" y="2"/>
                    <a:pt x="196" y="2"/>
                    <a:pt x="196" y="2"/>
                  </a:cubicBezTo>
                  <a:cubicBezTo>
                    <a:pt x="196" y="2"/>
                    <a:pt x="196" y="2"/>
                    <a:pt x="196" y="2"/>
                  </a:cubicBezTo>
                  <a:cubicBezTo>
                    <a:pt x="191" y="4"/>
                    <a:pt x="186" y="6"/>
                    <a:pt x="179" y="9"/>
                  </a:cubicBezTo>
                  <a:cubicBezTo>
                    <a:pt x="166" y="14"/>
                    <a:pt x="156" y="25"/>
                    <a:pt x="156" y="35"/>
                  </a:cubicBezTo>
                  <a:cubicBezTo>
                    <a:pt x="156" y="39"/>
                    <a:pt x="154" y="40"/>
                    <a:pt x="151" y="41"/>
                  </a:cubicBezTo>
                  <a:cubicBezTo>
                    <a:pt x="150" y="41"/>
                    <a:pt x="149" y="41"/>
                    <a:pt x="148" y="41"/>
                  </a:cubicBezTo>
                  <a:cubicBezTo>
                    <a:pt x="146" y="41"/>
                    <a:pt x="146" y="41"/>
                    <a:pt x="146" y="41"/>
                  </a:cubicBezTo>
                  <a:cubicBezTo>
                    <a:pt x="145" y="41"/>
                    <a:pt x="144" y="41"/>
                    <a:pt x="143" y="41"/>
                  </a:cubicBezTo>
                  <a:cubicBezTo>
                    <a:pt x="141" y="41"/>
                    <a:pt x="141" y="41"/>
                    <a:pt x="141" y="41"/>
                  </a:cubicBezTo>
                  <a:cubicBezTo>
                    <a:pt x="139" y="41"/>
                    <a:pt x="139" y="41"/>
                    <a:pt x="139" y="41"/>
                  </a:cubicBezTo>
                  <a:cubicBezTo>
                    <a:pt x="137" y="41"/>
                    <a:pt x="136" y="41"/>
                    <a:pt x="135" y="41"/>
                  </a:cubicBezTo>
                  <a:cubicBezTo>
                    <a:pt x="126" y="43"/>
                    <a:pt x="116" y="48"/>
                    <a:pt x="116" y="48"/>
                  </a:cubicBezTo>
                  <a:cubicBezTo>
                    <a:pt x="116" y="48"/>
                    <a:pt x="104" y="44"/>
                    <a:pt x="89" y="40"/>
                  </a:cubicBezTo>
                  <a:cubicBezTo>
                    <a:pt x="73" y="37"/>
                    <a:pt x="66" y="38"/>
                    <a:pt x="64" y="35"/>
                  </a:cubicBezTo>
                  <a:cubicBezTo>
                    <a:pt x="46" y="39"/>
                    <a:pt x="22" y="43"/>
                    <a:pt x="0" y="47"/>
                  </a:cubicBezTo>
                  <a:cubicBezTo>
                    <a:pt x="19" y="224"/>
                    <a:pt x="19" y="224"/>
                    <a:pt x="19" y="224"/>
                  </a:cubicBezTo>
                  <a:cubicBezTo>
                    <a:pt x="24" y="216"/>
                    <a:pt x="31" y="210"/>
                    <a:pt x="39" y="210"/>
                  </a:cubicBezTo>
                  <a:cubicBezTo>
                    <a:pt x="44" y="210"/>
                    <a:pt x="48" y="212"/>
                    <a:pt x="52" y="218"/>
                  </a:cubicBezTo>
                  <a:cubicBezTo>
                    <a:pt x="57" y="226"/>
                    <a:pt x="60" y="234"/>
                    <a:pt x="70" y="236"/>
                  </a:cubicBezTo>
                  <a:cubicBezTo>
                    <a:pt x="78" y="237"/>
                    <a:pt x="86" y="240"/>
                    <a:pt x="92" y="241"/>
                  </a:cubicBezTo>
                  <a:cubicBezTo>
                    <a:pt x="93" y="241"/>
                    <a:pt x="94" y="241"/>
                    <a:pt x="95" y="241"/>
                  </a:cubicBezTo>
                  <a:cubicBezTo>
                    <a:pt x="96" y="242"/>
                    <a:pt x="96" y="242"/>
                    <a:pt x="97" y="242"/>
                  </a:cubicBezTo>
                  <a:cubicBezTo>
                    <a:pt x="106" y="242"/>
                    <a:pt x="105" y="235"/>
                    <a:pt x="114" y="230"/>
                  </a:cubicBezTo>
                  <a:cubicBezTo>
                    <a:pt x="117" y="229"/>
                    <a:pt x="119" y="228"/>
                    <a:pt x="121" y="228"/>
                  </a:cubicBezTo>
                  <a:cubicBezTo>
                    <a:pt x="122" y="228"/>
                    <a:pt x="123" y="228"/>
                    <a:pt x="123" y="229"/>
                  </a:cubicBezTo>
                  <a:cubicBezTo>
                    <a:pt x="126" y="229"/>
                    <a:pt x="129" y="231"/>
                    <a:pt x="133" y="234"/>
                  </a:cubicBezTo>
                  <a:cubicBezTo>
                    <a:pt x="137" y="237"/>
                    <a:pt x="141" y="240"/>
                    <a:pt x="143" y="244"/>
                  </a:cubicBezTo>
                  <a:cubicBezTo>
                    <a:pt x="146" y="241"/>
                    <a:pt x="146" y="241"/>
                    <a:pt x="146" y="241"/>
                  </a:cubicBezTo>
                  <a:cubicBezTo>
                    <a:pt x="147" y="239"/>
                    <a:pt x="149" y="237"/>
                    <a:pt x="151" y="235"/>
                  </a:cubicBezTo>
                  <a:cubicBezTo>
                    <a:pt x="150" y="224"/>
                    <a:pt x="149" y="204"/>
                    <a:pt x="163" y="204"/>
                  </a:cubicBezTo>
                  <a:cubicBezTo>
                    <a:pt x="165" y="204"/>
                    <a:pt x="165" y="204"/>
                    <a:pt x="165" y="204"/>
                  </a:cubicBezTo>
                  <a:cubicBezTo>
                    <a:pt x="166" y="204"/>
                    <a:pt x="167" y="204"/>
                    <a:pt x="168" y="204"/>
                  </a:cubicBezTo>
                  <a:cubicBezTo>
                    <a:pt x="170" y="187"/>
                    <a:pt x="173" y="177"/>
                    <a:pt x="189" y="170"/>
                  </a:cubicBezTo>
                  <a:cubicBezTo>
                    <a:pt x="195" y="168"/>
                    <a:pt x="208" y="157"/>
                    <a:pt x="213" y="152"/>
                  </a:cubicBezTo>
                  <a:cubicBezTo>
                    <a:pt x="213" y="147"/>
                    <a:pt x="214" y="128"/>
                    <a:pt x="214" y="107"/>
                  </a:cubicBezTo>
                  <a:cubicBezTo>
                    <a:pt x="214" y="93"/>
                    <a:pt x="214" y="78"/>
                    <a:pt x="212" y="65"/>
                  </a:cubicBezTo>
                  <a:cubicBezTo>
                    <a:pt x="210" y="45"/>
                    <a:pt x="205" y="19"/>
                    <a:pt x="201"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0" name="Freeform 15">
              <a:extLst>
                <a:ext uri="{FF2B5EF4-FFF2-40B4-BE49-F238E27FC236}">
                  <a16:creationId xmlns:a16="http://schemas.microsoft.com/office/drawing/2014/main" id="{44A498E0-DF5E-ECC2-F34C-D13B2607A0C7}"/>
                </a:ext>
              </a:extLst>
            </p:cNvPr>
            <p:cNvSpPr>
              <a:spLocks/>
            </p:cNvSpPr>
            <p:nvPr/>
          </p:nvSpPr>
          <p:spPr bwMode="auto">
            <a:xfrm>
              <a:off x="5489078" y="3922300"/>
              <a:ext cx="1216931" cy="421663"/>
            </a:xfrm>
            <a:custGeom>
              <a:avLst/>
              <a:gdLst>
                <a:gd name="T0" fmla="*/ 440 w 440"/>
                <a:gd name="T1" fmla="*/ 0 h 152"/>
                <a:gd name="T2" fmla="*/ 414 w 440"/>
                <a:gd name="T3" fmla="*/ 3 h 152"/>
                <a:gd name="T4" fmla="*/ 277 w 440"/>
                <a:gd name="T5" fmla="*/ 24 h 152"/>
                <a:gd name="T6" fmla="*/ 108 w 440"/>
                <a:gd name="T7" fmla="*/ 37 h 152"/>
                <a:gd name="T8" fmla="*/ 108 w 440"/>
                <a:gd name="T9" fmla="*/ 48 h 152"/>
                <a:gd name="T10" fmla="*/ 106 w 440"/>
                <a:gd name="T11" fmla="*/ 51 h 152"/>
                <a:gd name="T12" fmla="*/ 37 w 440"/>
                <a:gd name="T13" fmla="*/ 55 h 152"/>
                <a:gd name="T14" fmla="*/ 37 w 440"/>
                <a:gd name="T15" fmla="*/ 55 h 152"/>
                <a:gd name="T16" fmla="*/ 36 w 440"/>
                <a:gd name="T17" fmla="*/ 55 h 152"/>
                <a:gd name="T18" fmla="*/ 26 w 440"/>
                <a:gd name="T19" fmla="*/ 63 h 152"/>
                <a:gd name="T20" fmla="*/ 20 w 440"/>
                <a:gd name="T21" fmla="*/ 92 h 152"/>
                <a:gd name="T22" fmla="*/ 23 w 440"/>
                <a:gd name="T23" fmla="*/ 100 h 152"/>
                <a:gd name="T24" fmla="*/ 16 w 440"/>
                <a:gd name="T25" fmla="*/ 115 h 152"/>
                <a:gd name="T26" fmla="*/ 9 w 440"/>
                <a:gd name="T27" fmla="*/ 133 h 152"/>
                <a:gd name="T28" fmla="*/ 0 w 440"/>
                <a:gd name="T29" fmla="*/ 152 h 152"/>
                <a:gd name="T30" fmla="*/ 64 w 440"/>
                <a:gd name="T31" fmla="*/ 151 h 152"/>
                <a:gd name="T32" fmla="*/ 110 w 440"/>
                <a:gd name="T33" fmla="*/ 143 h 152"/>
                <a:gd name="T34" fmla="*/ 133 w 440"/>
                <a:gd name="T35" fmla="*/ 140 h 152"/>
                <a:gd name="T36" fmla="*/ 277 w 440"/>
                <a:gd name="T37" fmla="*/ 126 h 152"/>
                <a:gd name="T38" fmla="*/ 305 w 440"/>
                <a:gd name="T39" fmla="*/ 124 h 152"/>
                <a:gd name="T40" fmla="*/ 313 w 440"/>
                <a:gd name="T41" fmla="*/ 123 h 152"/>
                <a:gd name="T42" fmla="*/ 313 w 440"/>
                <a:gd name="T43" fmla="*/ 121 h 152"/>
                <a:gd name="T44" fmla="*/ 313 w 440"/>
                <a:gd name="T45" fmla="*/ 111 h 152"/>
                <a:gd name="T46" fmla="*/ 325 w 440"/>
                <a:gd name="T47" fmla="*/ 102 h 152"/>
                <a:gd name="T48" fmla="*/ 336 w 440"/>
                <a:gd name="T49" fmla="*/ 83 h 152"/>
                <a:gd name="T50" fmla="*/ 352 w 440"/>
                <a:gd name="T51" fmla="*/ 77 h 152"/>
                <a:gd name="T52" fmla="*/ 378 w 440"/>
                <a:gd name="T53" fmla="*/ 58 h 152"/>
                <a:gd name="T54" fmla="*/ 389 w 440"/>
                <a:gd name="T55" fmla="*/ 41 h 152"/>
                <a:gd name="T56" fmla="*/ 390 w 440"/>
                <a:gd name="T57" fmla="*/ 41 h 152"/>
                <a:gd name="T58" fmla="*/ 390 w 440"/>
                <a:gd name="T59" fmla="*/ 41 h 152"/>
                <a:gd name="T60" fmla="*/ 390 w 440"/>
                <a:gd name="T61" fmla="*/ 41 h 152"/>
                <a:gd name="T62" fmla="*/ 390 w 440"/>
                <a:gd name="T63" fmla="*/ 41 h 152"/>
                <a:gd name="T64" fmla="*/ 390 w 440"/>
                <a:gd name="T65" fmla="*/ 40 h 152"/>
                <a:gd name="T66" fmla="*/ 394 w 440"/>
                <a:gd name="T67" fmla="*/ 40 h 152"/>
                <a:gd name="T68" fmla="*/ 404 w 440"/>
                <a:gd name="T69" fmla="*/ 41 h 152"/>
                <a:gd name="T70" fmla="*/ 413 w 440"/>
                <a:gd name="T71" fmla="*/ 30 h 152"/>
                <a:gd name="T72" fmla="*/ 414 w 440"/>
                <a:gd name="T73" fmla="*/ 30 h 152"/>
                <a:gd name="T74" fmla="*/ 416 w 440"/>
                <a:gd name="T75" fmla="*/ 30 h 152"/>
                <a:gd name="T76" fmla="*/ 424 w 440"/>
                <a:gd name="T77" fmla="*/ 31 h 152"/>
                <a:gd name="T78" fmla="*/ 427 w 440"/>
                <a:gd name="T79" fmla="*/ 27 h 152"/>
                <a:gd name="T80" fmla="*/ 436 w 440"/>
                <a:gd name="T81" fmla="*/ 14 h 152"/>
                <a:gd name="T82" fmla="*/ 440 w 440"/>
                <a:gd name="T8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0" h="152">
                  <a:moveTo>
                    <a:pt x="440" y="0"/>
                  </a:moveTo>
                  <a:cubicBezTo>
                    <a:pt x="414" y="3"/>
                    <a:pt x="414" y="3"/>
                    <a:pt x="414" y="3"/>
                  </a:cubicBezTo>
                  <a:cubicBezTo>
                    <a:pt x="277" y="24"/>
                    <a:pt x="277" y="24"/>
                    <a:pt x="277" y="24"/>
                  </a:cubicBezTo>
                  <a:cubicBezTo>
                    <a:pt x="108" y="37"/>
                    <a:pt x="108" y="37"/>
                    <a:pt x="108" y="37"/>
                  </a:cubicBezTo>
                  <a:cubicBezTo>
                    <a:pt x="108" y="48"/>
                    <a:pt x="108" y="48"/>
                    <a:pt x="108" y="48"/>
                  </a:cubicBezTo>
                  <a:cubicBezTo>
                    <a:pt x="108" y="50"/>
                    <a:pt x="107" y="51"/>
                    <a:pt x="106" y="51"/>
                  </a:cubicBezTo>
                  <a:cubicBezTo>
                    <a:pt x="37" y="55"/>
                    <a:pt x="37" y="55"/>
                    <a:pt x="37" y="55"/>
                  </a:cubicBezTo>
                  <a:cubicBezTo>
                    <a:pt x="37" y="55"/>
                    <a:pt x="37" y="55"/>
                    <a:pt x="37" y="55"/>
                  </a:cubicBezTo>
                  <a:cubicBezTo>
                    <a:pt x="36" y="55"/>
                    <a:pt x="36" y="55"/>
                    <a:pt x="36" y="55"/>
                  </a:cubicBezTo>
                  <a:cubicBezTo>
                    <a:pt x="32" y="57"/>
                    <a:pt x="29" y="59"/>
                    <a:pt x="26" y="63"/>
                  </a:cubicBezTo>
                  <a:cubicBezTo>
                    <a:pt x="21" y="70"/>
                    <a:pt x="23" y="86"/>
                    <a:pt x="20" y="92"/>
                  </a:cubicBezTo>
                  <a:cubicBezTo>
                    <a:pt x="22" y="96"/>
                    <a:pt x="23" y="99"/>
                    <a:pt x="23" y="100"/>
                  </a:cubicBezTo>
                  <a:cubicBezTo>
                    <a:pt x="23" y="103"/>
                    <a:pt x="20" y="105"/>
                    <a:pt x="16" y="115"/>
                  </a:cubicBezTo>
                  <a:cubicBezTo>
                    <a:pt x="12" y="122"/>
                    <a:pt x="9" y="129"/>
                    <a:pt x="9" y="133"/>
                  </a:cubicBezTo>
                  <a:cubicBezTo>
                    <a:pt x="9" y="138"/>
                    <a:pt x="5" y="145"/>
                    <a:pt x="0" y="152"/>
                  </a:cubicBezTo>
                  <a:cubicBezTo>
                    <a:pt x="64" y="151"/>
                    <a:pt x="64" y="151"/>
                    <a:pt x="64" y="151"/>
                  </a:cubicBezTo>
                  <a:cubicBezTo>
                    <a:pt x="110" y="143"/>
                    <a:pt x="110" y="143"/>
                    <a:pt x="110" y="143"/>
                  </a:cubicBezTo>
                  <a:cubicBezTo>
                    <a:pt x="133" y="140"/>
                    <a:pt x="133" y="140"/>
                    <a:pt x="133" y="140"/>
                  </a:cubicBezTo>
                  <a:cubicBezTo>
                    <a:pt x="277" y="126"/>
                    <a:pt x="277" y="126"/>
                    <a:pt x="277" y="126"/>
                  </a:cubicBezTo>
                  <a:cubicBezTo>
                    <a:pt x="305" y="124"/>
                    <a:pt x="305" y="124"/>
                    <a:pt x="305" y="124"/>
                  </a:cubicBezTo>
                  <a:cubicBezTo>
                    <a:pt x="313" y="123"/>
                    <a:pt x="313" y="123"/>
                    <a:pt x="313" y="123"/>
                  </a:cubicBezTo>
                  <a:cubicBezTo>
                    <a:pt x="313" y="121"/>
                    <a:pt x="313" y="121"/>
                    <a:pt x="313" y="121"/>
                  </a:cubicBezTo>
                  <a:cubicBezTo>
                    <a:pt x="313" y="116"/>
                    <a:pt x="313" y="113"/>
                    <a:pt x="313" y="111"/>
                  </a:cubicBezTo>
                  <a:cubicBezTo>
                    <a:pt x="313" y="105"/>
                    <a:pt x="315" y="105"/>
                    <a:pt x="325" y="102"/>
                  </a:cubicBezTo>
                  <a:cubicBezTo>
                    <a:pt x="326" y="99"/>
                    <a:pt x="332" y="84"/>
                    <a:pt x="336" y="83"/>
                  </a:cubicBezTo>
                  <a:cubicBezTo>
                    <a:pt x="337" y="82"/>
                    <a:pt x="350" y="78"/>
                    <a:pt x="352" y="77"/>
                  </a:cubicBezTo>
                  <a:cubicBezTo>
                    <a:pt x="361" y="71"/>
                    <a:pt x="369" y="64"/>
                    <a:pt x="378" y="58"/>
                  </a:cubicBezTo>
                  <a:cubicBezTo>
                    <a:pt x="389" y="41"/>
                    <a:pt x="389" y="41"/>
                    <a:pt x="389" y="41"/>
                  </a:cubicBezTo>
                  <a:cubicBezTo>
                    <a:pt x="390" y="41"/>
                    <a:pt x="390" y="41"/>
                    <a:pt x="390" y="41"/>
                  </a:cubicBezTo>
                  <a:cubicBezTo>
                    <a:pt x="390" y="41"/>
                    <a:pt x="390" y="41"/>
                    <a:pt x="390" y="41"/>
                  </a:cubicBezTo>
                  <a:cubicBezTo>
                    <a:pt x="390" y="41"/>
                    <a:pt x="390" y="41"/>
                    <a:pt x="390" y="41"/>
                  </a:cubicBezTo>
                  <a:cubicBezTo>
                    <a:pt x="390" y="41"/>
                    <a:pt x="390" y="41"/>
                    <a:pt x="390" y="41"/>
                  </a:cubicBezTo>
                  <a:cubicBezTo>
                    <a:pt x="390" y="40"/>
                    <a:pt x="390" y="40"/>
                    <a:pt x="390" y="40"/>
                  </a:cubicBezTo>
                  <a:cubicBezTo>
                    <a:pt x="391" y="40"/>
                    <a:pt x="393" y="40"/>
                    <a:pt x="394" y="40"/>
                  </a:cubicBezTo>
                  <a:cubicBezTo>
                    <a:pt x="398" y="40"/>
                    <a:pt x="403" y="41"/>
                    <a:pt x="404" y="41"/>
                  </a:cubicBezTo>
                  <a:cubicBezTo>
                    <a:pt x="413" y="30"/>
                    <a:pt x="413" y="30"/>
                    <a:pt x="413" y="30"/>
                  </a:cubicBezTo>
                  <a:cubicBezTo>
                    <a:pt x="414" y="30"/>
                    <a:pt x="414" y="30"/>
                    <a:pt x="414" y="30"/>
                  </a:cubicBezTo>
                  <a:cubicBezTo>
                    <a:pt x="414" y="30"/>
                    <a:pt x="415" y="30"/>
                    <a:pt x="416" y="30"/>
                  </a:cubicBezTo>
                  <a:cubicBezTo>
                    <a:pt x="419" y="30"/>
                    <a:pt x="423" y="31"/>
                    <a:pt x="424" y="31"/>
                  </a:cubicBezTo>
                  <a:cubicBezTo>
                    <a:pt x="427" y="27"/>
                    <a:pt x="427" y="27"/>
                    <a:pt x="427" y="27"/>
                  </a:cubicBezTo>
                  <a:cubicBezTo>
                    <a:pt x="436" y="14"/>
                    <a:pt x="436" y="14"/>
                    <a:pt x="436" y="14"/>
                  </a:cubicBezTo>
                  <a:lnTo>
                    <a:pt x="44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1" name="Freeform 41">
              <a:extLst>
                <a:ext uri="{FF2B5EF4-FFF2-40B4-BE49-F238E27FC236}">
                  <a16:creationId xmlns:a16="http://schemas.microsoft.com/office/drawing/2014/main" id="{B322A3D8-DFDC-4BFA-E0AC-F6C7F935FBAB}"/>
                </a:ext>
              </a:extLst>
            </p:cNvPr>
            <p:cNvSpPr>
              <a:spLocks/>
            </p:cNvSpPr>
            <p:nvPr/>
          </p:nvSpPr>
          <p:spPr bwMode="auto">
            <a:xfrm>
              <a:off x="7664050" y="2454233"/>
              <a:ext cx="384457" cy="203081"/>
            </a:xfrm>
            <a:custGeom>
              <a:avLst/>
              <a:gdLst>
                <a:gd name="T0" fmla="*/ 108 w 139"/>
                <a:gd name="T1" fmla="*/ 0 h 73"/>
                <a:gd name="T2" fmla="*/ 92 w 139"/>
                <a:gd name="T3" fmla="*/ 13 h 73"/>
                <a:gd name="T4" fmla="*/ 0 w 139"/>
                <a:gd name="T5" fmla="*/ 33 h 73"/>
                <a:gd name="T6" fmla="*/ 1 w 139"/>
                <a:gd name="T7" fmla="*/ 73 h 73"/>
                <a:gd name="T8" fmla="*/ 94 w 139"/>
                <a:gd name="T9" fmla="*/ 51 h 73"/>
                <a:gd name="T10" fmla="*/ 94 w 139"/>
                <a:gd name="T11" fmla="*/ 51 h 73"/>
                <a:gd name="T12" fmla="*/ 94 w 139"/>
                <a:gd name="T13" fmla="*/ 51 h 73"/>
                <a:gd name="T14" fmla="*/ 97 w 139"/>
                <a:gd name="T15" fmla="*/ 52 h 73"/>
                <a:gd name="T16" fmla="*/ 119 w 139"/>
                <a:gd name="T17" fmla="*/ 72 h 73"/>
                <a:gd name="T18" fmla="*/ 122 w 139"/>
                <a:gd name="T19" fmla="*/ 71 h 73"/>
                <a:gd name="T20" fmla="*/ 122 w 139"/>
                <a:gd name="T21" fmla="*/ 71 h 73"/>
                <a:gd name="T22" fmla="*/ 123 w 139"/>
                <a:gd name="T23" fmla="*/ 70 h 73"/>
                <a:gd name="T24" fmla="*/ 123 w 139"/>
                <a:gd name="T25" fmla="*/ 70 h 73"/>
                <a:gd name="T26" fmla="*/ 123 w 139"/>
                <a:gd name="T27" fmla="*/ 70 h 73"/>
                <a:gd name="T28" fmla="*/ 124 w 139"/>
                <a:gd name="T29" fmla="*/ 69 h 73"/>
                <a:gd name="T30" fmla="*/ 124 w 139"/>
                <a:gd name="T31" fmla="*/ 69 h 73"/>
                <a:gd name="T32" fmla="*/ 124 w 139"/>
                <a:gd name="T33" fmla="*/ 69 h 73"/>
                <a:gd name="T34" fmla="*/ 125 w 139"/>
                <a:gd name="T35" fmla="*/ 68 h 73"/>
                <a:gd name="T36" fmla="*/ 139 w 139"/>
                <a:gd name="T37" fmla="*/ 52 h 73"/>
                <a:gd name="T38" fmla="*/ 139 w 139"/>
                <a:gd name="T39" fmla="*/ 51 h 73"/>
                <a:gd name="T40" fmla="*/ 113 w 139"/>
                <a:gd name="T41" fmla="*/ 30 h 73"/>
                <a:gd name="T42" fmla="*/ 111 w 139"/>
                <a:gd name="T43" fmla="*/ 28 h 73"/>
                <a:gd name="T44" fmla="*/ 119 w 139"/>
                <a:gd name="T45" fmla="*/ 14 h 73"/>
                <a:gd name="T46" fmla="*/ 121 w 139"/>
                <a:gd name="T47" fmla="*/ 10 h 73"/>
                <a:gd name="T48" fmla="*/ 108 w 139"/>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73">
                  <a:moveTo>
                    <a:pt x="108" y="0"/>
                  </a:moveTo>
                  <a:cubicBezTo>
                    <a:pt x="102" y="6"/>
                    <a:pt x="93" y="13"/>
                    <a:pt x="92" y="13"/>
                  </a:cubicBezTo>
                  <a:cubicBezTo>
                    <a:pt x="0" y="33"/>
                    <a:pt x="0" y="33"/>
                    <a:pt x="0" y="33"/>
                  </a:cubicBezTo>
                  <a:cubicBezTo>
                    <a:pt x="1" y="73"/>
                    <a:pt x="1" y="73"/>
                    <a:pt x="1" y="73"/>
                  </a:cubicBezTo>
                  <a:cubicBezTo>
                    <a:pt x="94" y="51"/>
                    <a:pt x="94" y="51"/>
                    <a:pt x="94" y="51"/>
                  </a:cubicBezTo>
                  <a:cubicBezTo>
                    <a:pt x="94" y="51"/>
                    <a:pt x="94" y="51"/>
                    <a:pt x="94" y="51"/>
                  </a:cubicBezTo>
                  <a:cubicBezTo>
                    <a:pt x="94" y="51"/>
                    <a:pt x="94" y="51"/>
                    <a:pt x="94" y="51"/>
                  </a:cubicBezTo>
                  <a:cubicBezTo>
                    <a:pt x="97" y="52"/>
                    <a:pt x="97" y="52"/>
                    <a:pt x="97" y="52"/>
                  </a:cubicBezTo>
                  <a:cubicBezTo>
                    <a:pt x="119" y="72"/>
                    <a:pt x="119" y="72"/>
                    <a:pt x="119" y="72"/>
                  </a:cubicBezTo>
                  <a:cubicBezTo>
                    <a:pt x="120" y="72"/>
                    <a:pt x="121" y="71"/>
                    <a:pt x="122" y="71"/>
                  </a:cubicBezTo>
                  <a:cubicBezTo>
                    <a:pt x="122" y="71"/>
                    <a:pt x="122" y="71"/>
                    <a:pt x="122" y="71"/>
                  </a:cubicBezTo>
                  <a:cubicBezTo>
                    <a:pt x="123" y="70"/>
                    <a:pt x="123" y="70"/>
                    <a:pt x="123" y="70"/>
                  </a:cubicBezTo>
                  <a:cubicBezTo>
                    <a:pt x="123" y="70"/>
                    <a:pt x="123" y="70"/>
                    <a:pt x="123" y="70"/>
                  </a:cubicBezTo>
                  <a:cubicBezTo>
                    <a:pt x="123" y="70"/>
                    <a:pt x="123" y="70"/>
                    <a:pt x="123" y="70"/>
                  </a:cubicBezTo>
                  <a:cubicBezTo>
                    <a:pt x="124" y="69"/>
                    <a:pt x="124" y="69"/>
                    <a:pt x="124" y="69"/>
                  </a:cubicBezTo>
                  <a:cubicBezTo>
                    <a:pt x="124" y="69"/>
                    <a:pt x="124" y="69"/>
                    <a:pt x="124" y="69"/>
                  </a:cubicBezTo>
                  <a:cubicBezTo>
                    <a:pt x="124" y="69"/>
                    <a:pt x="124" y="69"/>
                    <a:pt x="124" y="69"/>
                  </a:cubicBezTo>
                  <a:cubicBezTo>
                    <a:pt x="125" y="68"/>
                    <a:pt x="125" y="68"/>
                    <a:pt x="125" y="68"/>
                  </a:cubicBezTo>
                  <a:cubicBezTo>
                    <a:pt x="135" y="61"/>
                    <a:pt x="139" y="55"/>
                    <a:pt x="139" y="52"/>
                  </a:cubicBezTo>
                  <a:cubicBezTo>
                    <a:pt x="139" y="51"/>
                    <a:pt x="139" y="51"/>
                    <a:pt x="139" y="51"/>
                  </a:cubicBezTo>
                  <a:cubicBezTo>
                    <a:pt x="138" y="48"/>
                    <a:pt x="119" y="31"/>
                    <a:pt x="113" y="30"/>
                  </a:cubicBezTo>
                  <a:cubicBezTo>
                    <a:pt x="111" y="30"/>
                    <a:pt x="111" y="29"/>
                    <a:pt x="111" y="28"/>
                  </a:cubicBezTo>
                  <a:cubicBezTo>
                    <a:pt x="111" y="24"/>
                    <a:pt x="116" y="18"/>
                    <a:pt x="119" y="14"/>
                  </a:cubicBezTo>
                  <a:cubicBezTo>
                    <a:pt x="120" y="13"/>
                    <a:pt x="121" y="11"/>
                    <a:pt x="121" y="10"/>
                  </a:cubicBezTo>
                  <a:cubicBezTo>
                    <a:pt x="121" y="6"/>
                    <a:pt x="113" y="2"/>
                    <a:pt x="108"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02" name="Freeform 42">
              <a:extLst>
                <a:ext uri="{FF2B5EF4-FFF2-40B4-BE49-F238E27FC236}">
                  <a16:creationId xmlns:a16="http://schemas.microsoft.com/office/drawing/2014/main" id="{BB5B43EE-E111-C93E-AC07-84D4526C384C}"/>
                </a:ext>
              </a:extLst>
            </p:cNvPr>
            <p:cNvSpPr>
              <a:spLocks/>
            </p:cNvSpPr>
            <p:nvPr/>
          </p:nvSpPr>
          <p:spPr bwMode="auto">
            <a:xfrm>
              <a:off x="7815972" y="1530296"/>
              <a:ext cx="547232" cy="846426"/>
            </a:xfrm>
            <a:custGeom>
              <a:avLst/>
              <a:gdLst>
                <a:gd name="T0" fmla="*/ 91 w 198"/>
                <a:gd name="T1" fmla="*/ 0 h 305"/>
                <a:gd name="T2" fmla="*/ 91 w 198"/>
                <a:gd name="T3" fmla="*/ 0 h 305"/>
                <a:gd name="T4" fmla="*/ 77 w 198"/>
                <a:gd name="T5" fmla="*/ 13 h 305"/>
                <a:gd name="T6" fmla="*/ 64 w 198"/>
                <a:gd name="T7" fmla="*/ 19 h 305"/>
                <a:gd name="T8" fmla="*/ 55 w 198"/>
                <a:gd name="T9" fmla="*/ 15 h 305"/>
                <a:gd name="T10" fmla="*/ 46 w 198"/>
                <a:gd name="T11" fmla="*/ 8 h 305"/>
                <a:gd name="T12" fmla="*/ 45 w 198"/>
                <a:gd name="T13" fmla="*/ 8 h 305"/>
                <a:gd name="T14" fmla="*/ 43 w 198"/>
                <a:gd name="T15" fmla="*/ 8 h 305"/>
                <a:gd name="T16" fmla="*/ 39 w 198"/>
                <a:gd name="T17" fmla="*/ 27 h 305"/>
                <a:gd name="T18" fmla="*/ 29 w 198"/>
                <a:gd name="T19" fmla="*/ 52 h 305"/>
                <a:gd name="T20" fmla="*/ 22 w 198"/>
                <a:gd name="T21" fmla="*/ 84 h 305"/>
                <a:gd name="T22" fmla="*/ 21 w 198"/>
                <a:gd name="T23" fmla="*/ 93 h 305"/>
                <a:gd name="T24" fmla="*/ 22 w 198"/>
                <a:gd name="T25" fmla="*/ 111 h 305"/>
                <a:gd name="T26" fmla="*/ 22 w 198"/>
                <a:gd name="T27" fmla="*/ 111 h 305"/>
                <a:gd name="T28" fmla="*/ 22 w 198"/>
                <a:gd name="T29" fmla="*/ 112 h 305"/>
                <a:gd name="T30" fmla="*/ 21 w 198"/>
                <a:gd name="T31" fmla="*/ 132 h 305"/>
                <a:gd name="T32" fmla="*/ 17 w 198"/>
                <a:gd name="T33" fmla="*/ 149 h 305"/>
                <a:gd name="T34" fmla="*/ 7 w 198"/>
                <a:gd name="T35" fmla="*/ 168 h 305"/>
                <a:gd name="T36" fmla="*/ 2 w 198"/>
                <a:gd name="T37" fmla="*/ 169 h 305"/>
                <a:gd name="T38" fmla="*/ 0 w 198"/>
                <a:gd name="T39" fmla="*/ 170 h 305"/>
                <a:gd name="T40" fmla="*/ 39 w 198"/>
                <a:gd name="T41" fmla="*/ 281 h 305"/>
                <a:gd name="T42" fmla="*/ 60 w 198"/>
                <a:gd name="T43" fmla="*/ 305 h 305"/>
                <a:gd name="T44" fmla="*/ 63 w 198"/>
                <a:gd name="T45" fmla="*/ 279 h 305"/>
                <a:gd name="T46" fmla="*/ 63 w 198"/>
                <a:gd name="T47" fmla="*/ 279 h 305"/>
                <a:gd name="T48" fmla="*/ 63 w 198"/>
                <a:gd name="T49" fmla="*/ 279 h 305"/>
                <a:gd name="T50" fmla="*/ 63 w 198"/>
                <a:gd name="T51" fmla="*/ 279 h 305"/>
                <a:gd name="T52" fmla="*/ 64 w 198"/>
                <a:gd name="T53" fmla="*/ 279 h 305"/>
                <a:gd name="T54" fmla="*/ 64 w 198"/>
                <a:gd name="T55" fmla="*/ 279 h 305"/>
                <a:gd name="T56" fmla="*/ 64 w 198"/>
                <a:gd name="T57" fmla="*/ 279 h 305"/>
                <a:gd name="T58" fmla="*/ 64 w 198"/>
                <a:gd name="T59" fmla="*/ 278 h 305"/>
                <a:gd name="T60" fmla="*/ 64 w 198"/>
                <a:gd name="T61" fmla="*/ 278 h 305"/>
                <a:gd name="T62" fmla="*/ 64 w 198"/>
                <a:gd name="T63" fmla="*/ 278 h 305"/>
                <a:gd name="T64" fmla="*/ 64 w 198"/>
                <a:gd name="T65" fmla="*/ 278 h 305"/>
                <a:gd name="T66" fmla="*/ 72 w 198"/>
                <a:gd name="T67" fmla="*/ 256 h 305"/>
                <a:gd name="T68" fmla="*/ 78 w 198"/>
                <a:gd name="T69" fmla="*/ 253 h 305"/>
                <a:gd name="T70" fmla="*/ 80 w 198"/>
                <a:gd name="T71" fmla="*/ 253 h 305"/>
                <a:gd name="T72" fmla="*/ 81 w 198"/>
                <a:gd name="T73" fmla="*/ 253 h 305"/>
                <a:gd name="T74" fmla="*/ 82 w 198"/>
                <a:gd name="T75" fmla="*/ 253 h 305"/>
                <a:gd name="T76" fmla="*/ 88 w 198"/>
                <a:gd name="T77" fmla="*/ 252 h 305"/>
                <a:gd name="T78" fmla="*/ 99 w 198"/>
                <a:gd name="T79" fmla="*/ 236 h 305"/>
                <a:gd name="T80" fmla="*/ 111 w 198"/>
                <a:gd name="T81" fmla="*/ 216 h 305"/>
                <a:gd name="T82" fmla="*/ 111 w 198"/>
                <a:gd name="T83" fmla="*/ 215 h 305"/>
                <a:gd name="T84" fmla="*/ 117 w 198"/>
                <a:gd name="T85" fmla="*/ 194 h 305"/>
                <a:gd name="T86" fmla="*/ 118 w 198"/>
                <a:gd name="T87" fmla="*/ 195 h 305"/>
                <a:gd name="T88" fmla="*/ 119 w 198"/>
                <a:gd name="T89" fmla="*/ 195 h 305"/>
                <a:gd name="T90" fmla="*/ 138 w 198"/>
                <a:gd name="T91" fmla="*/ 199 h 305"/>
                <a:gd name="T92" fmla="*/ 153 w 198"/>
                <a:gd name="T93" fmla="*/ 189 h 305"/>
                <a:gd name="T94" fmla="*/ 198 w 198"/>
                <a:gd name="T95" fmla="*/ 150 h 305"/>
                <a:gd name="T96" fmla="*/ 189 w 198"/>
                <a:gd name="T97" fmla="*/ 136 h 305"/>
                <a:gd name="T98" fmla="*/ 184 w 198"/>
                <a:gd name="T99" fmla="*/ 132 h 305"/>
                <a:gd name="T100" fmla="*/ 182 w 198"/>
                <a:gd name="T101" fmla="*/ 131 h 305"/>
                <a:gd name="T102" fmla="*/ 182 w 198"/>
                <a:gd name="T103" fmla="*/ 131 h 305"/>
                <a:gd name="T104" fmla="*/ 182 w 198"/>
                <a:gd name="T105" fmla="*/ 131 h 305"/>
                <a:gd name="T106" fmla="*/ 173 w 198"/>
                <a:gd name="T107" fmla="*/ 128 h 305"/>
                <a:gd name="T108" fmla="*/ 171 w 198"/>
                <a:gd name="T109" fmla="*/ 128 h 305"/>
                <a:gd name="T110" fmla="*/ 159 w 198"/>
                <a:gd name="T111" fmla="*/ 114 h 305"/>
                <a:gd name="T112" fmla="*/ 147 w 198"/>
                <a:gd name="T113" fmla="*/ 104 h 305"/>
                <a:gd name="T114" fmla="*/ 134 w 198"/>
                <a:gd name="T115" fmla="*/ 77 h 305"/>
                <a:gd name="T116" fmla="*/ 124 w 198"/>
                <a:gd name="T117" fmla="*/ 38 h 305"/>
                <a:gd name="T118" fmla="*/ 98 w 198"/>
                <a:gd name="T119" fmla="*/ 4 h 305"/>
                <a:gd name="T120" fmla="*/ 91 w 198"/>
                <a:gd name="T121"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8" h="305">
                  <a:moveTo>
                    <a:pt x="91" y="0"/>
                  </a:moveTo>
                  <a:cubicBezTo>
                    <a:pt x="91" y="0"/>
                    <a:pt x="91" y="0"/>
                    <a:pt x="91" y="0"/>
                  </a:cubicBezTo>
                  <a:cubicBezTo>
                    <a:pt x="87" y="1"/>
                    <a:pt x="86" y="8"/>
                    <a:pt x="77" y="13"/>
                  </a:cubicBezTo>
                  <a:cubicBezTo>
                    <a:pt x="71" y="17"/>
                    <a:pt x="67" y="19"/>
                    <a:pt x="64" y="19"/>
                  </a:cubicBezTo>
                  <a:cubicBezTo>
                    <a:pt x="61" y="19"/>
                    <a:pt x="59" y="17"/>
                    <a:pt x="55" y="15"/>
                  </a:cubicBezTo>
                  <a:cubicBezTo>
                    <a:pt x="50" y="12"/>
                    <a:pt x="49" y="9"/>
                    <a:pt x="46" y="8"/>
                  </a:cubicBezTo>
                  <a:cubicBezTo>
                    <a:pt x="45" y="8"/>
                    <a:pt x="45" y="8"/>
                    <a:pt x="45" y="8"/>
                  </a:cubicBezTo>
                  <a:cubicBezTo>
                    <a:pt x="43" y="8"/>
                    <a:pt x="43" y="8"/>
                    <a:pt x="43" y="8"/>
                  </a:cubicBezTo>
                  <a:cubicBezTo>
                    <a:pt x="38" y="9"/>
                    <a:pt x="40" y="19"/>
                    <a:pt x="39" y="27"/>
                  </a:cubicBezTo>
                  <a:cubicBezTo>
                    <a:pt x="38" y="34"/>
                    <a:pt x="33" y="44"/>
                    <a:pt x="29" y="52"/>
                  </a:cubicBezTo>
                  <a:cubicBezTo>
                    <a:pt x="25" y="60"/>
                    <a:pt x="25" y="75"/>
                    <a:pt x="22" y="84"/>
                  </a:cubicBezTo>
                  <a:cubicBezTo>
                    <a:pt x="21" y="87"/>
                    <a:pt x="21" y="90"/>
                    <a:pt x="21" y="93"/>
                  </a:cubicBezTo>
                  <a:cubicBezTo>
                    <a:pt x="21" y="100"/>
                    <a:pt x="22" y="106"/>
                    <a:pt x="22" y="111"/>
                  </a:cubicBezTo>
                  <a:cubicBezTo>
                    <a:pt x="22" y="111"/>
                    <a:pt x="22" y="111"/>
                    <a:pt x="22" y="111"/>
                  </a:cubicBezTo>
                  <a:cubicBezTo>
                    <a:pt x="22" y="112"/>
                    <a:pt x="22" y="112"/>
                    <a:pt x="22" y="112"/>
                  </a:cubicBezTo>
                  <a:cubicBezTo>
                    <a:pt x="22" y="119"/>
                    <a:pt x="22" y="125"/>
                    <a:pt x="21" y="132"/>
                  </a:cubicBezTo>
                  <a:cubicBezTo>
                    <a:pt x="21" y="141"/>
                    <a:pt x="18" y="142"/>
                    <a:pt x="17" y="149"/>
                  </a:cubicBezTo>
                  <a:cubicBezTo>
                    <a:pt x="16" y="155"/>
                    <a:pt x="10" y="165"/>
                    <a:pt x="7" y="168"/>
                  </a:cubicBezTo>
                  <a:cubicBezTo>
                    <a:pt x="5" y="169"/>
                    <a:pt x="4" y="169"/>
                    <a:pt x="2" y="169"/>
                  </a:cubicBezTo>
                  <a:cubicBezTo>
                    <a:pt x="2" y="169"/>
                    <a:pt x="1" y="169"/>
                    <a:pt x="0" y="170"/>
                  </a:cubicBezTo>
                  <a:cubicBezTo>
                    <a:pt x="39" y="281"/>
                    <a:pt x="39" y="281"/>
                    <a:pt x="39" y="281"/>
                  </a:cubicBezTo>
                  <a:cubicBezTo>
                    <a:pt x="60" y="305"/>
                    <a:pt x="60" y="305"/>
                    <a:pt x="60" y="305"/>
                  </a:cubicBezTo>
                  <a:cubicBezTo>
                    <a:pt x="62" y="296"/>
                    <a:pt x="61" y="284"/>
                    <a:pt x="63" y="279"/>
                  </a:cubicBezTo>
                  <a:cubicBezTo>
                    <a:pt x="63" y="279"/>
                    <a:pt x="63" y="279"/>
                    <a:pt x="63" y="279"/>
                  </a:cubicBezTo>
                  <a:cubicBezTo>
                    <a:pt x="63" y="279"/>
                    <a:pt x="63" y="279"/>
                    <a:pt x="63" y="279"/>
                  </a:cubicBezTo>
                  <a:cubicBezTo>
                    <a:pt x="63" y="279"/>
                    <a:pt x="63" y="279"/>
                    <a:pt x="63" y="279"/>
                  </a:cubicBezTo>
                  <a:cubicBezTo>
                    <a:pt x="64" y="279"/>
                    <a:pt x="64" y="279"/>
                    <a:pt x="64" y="279"/>
                  </a:cubicBezTo>
                  <a:cubicBezTo>
                    <a:pt x="64" y="279"/>
                    <a:pt x="64" y="279"/>
                    <a:pt x="64" y="279"/>
                  </a:cubicBezTo>
                  <a:cubicBezTo>
                    <a:pt x="64" y="279"/>
                    <a:pt x="64" y="279"/>
                    <a:pt x="64" y="279"/>
                  </a:cubicBezTo>
                  <a:cubicBezTo>
                    <a:pt x="64" y="278"/>
                    <a:pt x="64" y="278"/>
                    <a:pt x="64" y="278"/>
                  </a:cubicBezTo>
                  <a:cubicBezTo>
                    <a:pt x="64" y="278"/>
                    <a:pt x="64" y="278"/>
                    <a:pt x="64" y="278"/>
                  </a:cubicBezTo>
                  <a:cubicBezTo>
                    <a:pt x="64" y="278"/>
                    <a:pt x="64" y="278"/>
                    <a:pt x="64" y="278"/>
                  </a:cubicBezTo>
                  <a:cubicBezTo>
                    <a:pt x="64" y="278"/>
                    <a:pt x="64" y="278"/>
                    <a:pt x="64" y="278"/>
                  </a:cubicBezTo>
                  <a:cubicBezTo>
                    <a:pt x="69" y="273"/>
                    <a:pt x="69" y="261"/>
                    <a:pt x="72" y="256"/>
                  </a:cubicBezTo>
                  <a:cubicBezTo>
                    <a:pt x="74" y="253"/>
                    <a:pt x="76" y="253"/>
                    <a:pt x="78" y="253"/>
                  </a:cubicBezTo>
                  <a:cubicBezTo>
                    <a:pt x="80" y="253"/>
                    <a:pt x="80" y="253"/>
                    <a:pt x="80" y="253"/>
                  </a:cubicBezTo>
                  <a:cubicBezTo>
                    <a:pt x="81" y="253"/>
                    <a:pt x="81" y="253"/>
                    <a:pt x="81" y="253"/>
                  </a:cubicBezTo>
                  <a:cubicBezTo>
                    <a:pt x="82" y="253"/>
                    <a:pt x="82" y="253"/>
                    <a:pt x="82" y="253"/>
                  </a:cubicBezTo>
                  <a:cubicBezTo>
                    <a:pt x="84" y="253"/>
                    <a:pt x="86" y="253"/>
                    <a:pt x="88" y="252"/>
                  </a:cubicBezTo>
                  <a:cubicBezTo>
                    <a:pt x="94" y="248"/>
                    <a:pt x="92" y="244"/>
                    <a:pt x="99" y="236"/>
                  </a:cubicBezTo>
                  <a:cubicBezTo>
                    <a:pt x="105" y="229"/>
                    <a:pt x="111" y="231"/>
                    <a:pt x="111" y="216"/>
                  </a:cubicBezTo>
                  <a:cubicBezTo>
                    <a:pt x="111" y="215"/>
                    <a:pt x="111" y="215"/>
                    <a:pt x="111" y="215"/>
                  </a:cubicBezTo>
                  <a:cubicBezTo>
                    <a:pt x="111" y="202"/>
                    <a:pt x="111" y="194"/>
                    <a:pt x="117" y="194"/>
                  </a:cubicBezTo>
                  <a:cubicBezTo>
                    <a:pt x="118" y="195"/>
                    <a:pt x="118" y="195"/>
                    <a:pt x="118" y="195"/>
                  </a:cubicBezTo>
                  <a:cubicBezTo>
                    <a:pt x="119" y="195"/>
                    <a:pt x="119" y="195"/>
                    <a:pt x="119" y="195"/>
                  </a:cubicBezTo>
                  <a:cubicBezTo>
                    <a:pt x="127" y="196"/>
                    <a:pt x="135" y="199"/>
                    <a:pt x="138" y="199"/>
                  </a:cubicBezTo>
                  <a:cubicBezTo>
                    <a:pt x="141" y="199"/>
                    <a:pt x="151" y="192"/>
                    <a:pt x="153" y="189"/>
                  </a:cubicBezTo>
                  <a:cubicBezTo>
                    <a:pt x="155" y="186"/>
                    <a:pt x="198" y="150"/>
                    <a:pt x="198" y="150"/>
                  </a:cubicBezTo>
                  <a:cubicBezTo>
                    <a:pt x="198" y="150"/>
                    <a:pt x="197" y="145"/>
                    <a:pt x="189" y="136"/>
                  </a:cubicBezTo>
                  <a:cubicBezTo>
                    <a:pt x="187" y="134"/>
                    <a:pt x="185" y="133"/>
                    <a:pt x="184" y="132"/>
                  </a:cubicBezTo>
                  <a:cubicBezTo>
                    <a:pt x="182" y="131"/>
                    <a:pt x="182" y="131"/>
                    <a:pt x="182" y="131"/>
                  </a:cubicBezTo>
                  <a:cubicBezTo>
                    <a:pt x="182" y="131"/>
                    <a:pt x="182" y="131"/>
                    <a:pt x="182" y="131"/>
                  </a:cubicBezTo>
                  <a:cubicBezTo>
                    <a:pt x="182" y="131"/>
                    <a:pt x="182" y="131"/>
                    <a:pt x="182" y="131"/>
                  </a:cubicBezTo>
                  <a:cubicBezTo>
                    <a:pt x="179" y="128"/>
                    <a:pt x="176" y="128"/>
                    <a:pt x="173" y="128"/>
                  </a:cubicBezTo>
                  <a:cubicBezTo>
                    <a:pt x="171" y="128"/>
                    <a:pt x="171" y="128"/>
                    <a:pt x="171" y="128"/>
                  </a:cubicBezTo>
                  <a:cubicBezTo>
                    <a:pt x="165" y="128"/>
                    <a:pt x="160" y="120"/>
                    <a:pt x="159" y="114"/>
                  </a:cubicBezTo>
                  <a:cubicBezTo>
                    <a:pt x="159" y="107"/>
                    <a:pt x="158" y="105"/>
                    <a:pt x="147" y="104"/>
                  </a:cubicBezTo>
                  <a:cubicBezTo>
                    <a:pt x="136" y="104"/>
                    <a:pt x="137" y="89"/>
                    <a:pt x="134" y="77"/>
                  </a:cubicBezTo>
                  <a:cubicBezTo>
                    <a:pt x="131" y="65"/>
                    <a:pt x="124" y="51"/>
                    <a:pt x="124" y="38"/>
                  </a:cubicBezTo>
                  <a:cubicBezTo>
                    <a:pt x="123" y="25"/>
                    <a:pt x="108" y="14"/>
                    <a:pt x="98" y="4"/>
                  </a:cubicBezTo>
                  <a:cubicBezTo>
                    <a:pt x="95" y="1"/>
                    <a:pt x="93" y="0"/>
                    <a:pt x="91" y="0"/>
                  </a:cubicBez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3" name="Freeform 43">
              <a:extLst>
                <a:ext uri="{FF2B5EF4-FFF2-40B4-BE49-F238E27FC236}">
                  <a16:creationId xmlns:a16="http://schemas.microsoft.com/office/drawing/2014/main" id="{86769139-A4DB-7AFD-E25F-6E4A6806EAB6}"/>
                </a:ext>
              </a:extLst>
            </p:cNvPr>
            <p:cNvSpPr>
              <a:spLocks/>
            </p:cNvSpPr>
            <p:nvPr/>
          </p:nvSpPr>
          <p:spPr bwMode="auto">
            <a:xfrm>
              <a:off x="7743112" y="2007767"/>
              <a:ext cx="229434" cy="502275"/>
            </a:xfrm>
            <a:custGeom>
              <a:avLst/>
              <a:gdLst>
                <a:gd name="T0" fmla="*/ 20 w 83"/>
                <a:gd name="T1" fmla="*/ 0 h 181"/>
                <a:gd name="T2" fmla="*/ 19 w 83"/>
                <a:gd name="T3" fmla="*/ 1 h 181"/>
                <a:gd name="T4" fmla="*/ 18 w 83"/>
                <a:gd name="T5" fmla="*/ 1 h 181"/>
                <a:gd name="T6" fmla="*/ 18 w 83"/>
                <a:gd name="T7" fmla="*/ 1 h 181"/>
                <a:gd name="T8" fmla="*/ 16 w 83"/>
                <a:gd name="T9" fmla="*/ 3 h 181"/>
                <a:gd name="T10" fmla="*/ 16 w 83"/>
                <a:gd name="T11" fmla="*/ 3 h 181"/>
                <a:gd name="T12" fmla="*/ 16 w 83"/>
                <a:gd name="T13" fmla="*/ 4 h 181"/>
                <a:gd name="T14" fmla="*/ 16 w 83"/>
                <a:gd name="T15" fmla="*/ 4 h 181"/>
                <a:gd name="T16" fmla="*/ 15 w 83"/>
                <a:gd name="T17" fmla="*/ 4 h 181"/>
                <a:gd name="T18" fmla="*/ 15 w 83"/>
                <a:gd name="T19" fmla="*/ 4 h 181"/>
                <a:gd name="T20" fmla="*/ 11 w 83"/>
                <a:gd name="T21" fmla="*/ 9 h 181"/>
                <a:gd name="T22" fmla="*/ 11 w 83"/>
                <a:gd name="T23" fmla="*/ 9 h 181"/>
                <a:gd name="T24" fmla="*/ 11 w 83"/>
                <a:gd name="T25" fmla="*/ 9 h 181"/>
                <a:gd name="T26" fmla="*/ 11 w 83"/>
                <a:gd name="T27" fmla="*/ 9 h 181"/>
                <a:gd name="T28" fmla="*/ 11 w 83"/>
                <a:gd name="T29" fmla="*/ 10 h 181"/>
                <a:gd name="T30" fmla="*/ 5 w 83"/>
                <a:gd name="T31" fmla="*/ 22 h 181"/>
                <a:gd name="T32" fmla="*/ 11 w 83"/>
                <a:gd name="T33" fmla="*/ 43 h 181"/>
                <a:gd name="T34" fmla="*/ 20 w 83"/>
                <a:gd name="T35" fmla="*/ 54 h 181"/>
                <a:gd name="T36" fmla="*/ 20 w 83"/>
                <a:gd name="T37" fmla="*/ 56 h 181"/>
                <a:gd name="T38" fmla="*/ 16 w 83"/>
                <a:gd name="T39" fmla="*/ 67 h 181"/>
                <a:gd name="T40" fmla="*/ 6 w 83"/>
                <a:gd name="T41" fmla="*/ 71 h 181"/>
                <a:gd name="T42" fmla="*/ 1 w 83"/>
                <a:gd name="T43" fmla="*/ 77 h 181"/>
                <a:gd name="T44" fmla="*/ 2 w 83"/>
                <a:gd name="T45" fmla="*/ 99 h 181"/>
                <a:gd name="T46" fmla="*/ 2 w 83"/>
                <a:gd name="T47" fmla="*/ 110 h 181"/>
                <a:gd name="T48" fmla="*/ 2 w 83"/>
                <a:gd name="T49" fmla="*/ 111 h 181"/>
                <a:gd name="T50" fmla="*/ 0 w 83"/>
                <a:gd name="T51" fmla="*/ 126 h 181"/>
                <a:gd name="T52" fmla="*/ 3 w 83"/>
                <a:gd name="T53" fmla="*/ 148 h 181"/>
                <a:gd name="T54" fmla="*/ 4 w 83"/>
                <a:gd name="T55" fmla="*/ 181 h 181"/>
                <a:gd name="T56" fmla="*/ 61 w 83"/>
                <a:gd name="T57" fmla="*/ 169 h 181"/>
                <a:gd name="T58" fmla="*/ 76 w 83"/>
                <a:gd name="T59" fmla="*/ 155 h 181"/>
                <a:gd name="T60" fmla="*/ 76 w 83"/>
                <a:gd name="T61" fmla="*/ 153 h 181"/>
                <a:gd name="T62" fmla="*/ 76 w 83"/>
                <a:gd name="T63" fmla="*/ 153 h 181"/>
                <a:gd name="T64" fmla="*/ 76 w 83"/>
                <a:gd name="T65" fmla="*/ 153 h 181"/>
                <a:gd name="T66" fmla="*/ 76 w 83"/>
                <a:gd name="T67" fmla="*/ 153 h 181"/>
                <a:gd name="T68" fmla="*/ 76 w 83"/>
                <a:gd name="T69" fmla="*/ 153 h 181"/>
                <a:gd name="T70" fmla="*/ 83 w 83"/>
                <a:gd name="T71" fmla="*/ 138 h 181"/>
                <a:gd name="T72" fmla="*/ 60 w 83"/>
                <a:gd name="T73" fmla="*/ 113 h 181"/>
                <a:gd name="T74" fmla="*/ 60 w 83"/>
                <a:gd name="T75" fmla="*/ 112 h 181"/>
                <a:gd name="T76" fmla="*/ 20 w 83"/>
                <a:gd name="T7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3" h="181">
                  <a:moveTo>
                    <a:pt x="20" y="0"/>
                  </a:moveTo>
                  <a:cubicBezTo>
                    <a:pt x="19" y="1"/>
                    <a:pt x="19" y="1"/>
                    <a:pt x="19" y="1"/>
                  </a:cubicBezTo>
                  <a:cubicBezTo>
                    <a:pt x="18" y="1"/>
                    <a:pt x="18" y="1"/>
                    <a:pt x="18" y="1"/>
                  </a:cubicBezTo>
                  <a:cubicBezTo>
                    <a:pt x="18" y="1"/>
                    <a:pt x="18" y="1"/>
                    <a:pt x="18" y="1"/>
                  </a:cubicBezTo>
                  <a:cubicBezTo>
                    <a:pt x="16" y="3"/>
                    <a:pt x="16" y="3"/>
                    <a:pt x="16" y="3"/>
                  </a:cubicBezTo>
                  <a:cubicBezTo>
                    <a:pt x="16" y="3"/>
                    <a:pt x="16" y="3"/>
                    <a:pt x="16" y="3"/>
                  </a:cubicBezTo>
                  <a:cubicBezTo>
                    <a:pt x="16" y="4"/>
                    <a:pt x="16" y="4"/>
                    <a:pt x="16" y="4"/>
                  </a:cubicBezTo>
                  <a:cubicBezTo>
                    <a:pt x="16" y="4"/>
                    <a:pt x="16" y="4"/>
                    <a:pt x="16" y="4"/>
                  </a:cubicBezTo>
                  <a:cubicBezTo>
                    <a:pt x="15" y="4"/>
                    <a:pt x="15" y="4"/>
                    <a:pt x="15" y="4"/>
                  </a:cubicBezTo>
                  <a:cubicBezTo>
                    <a:pt x="15" y="4"/>
                    <a:pt x="15" y="4"/>
                    <a:pt x="15" y="4"/>
                  </a:cubicBezTo>
                  <a:cubicBezTo>
                    <a:pt x="14" y="6"/>
                    <a:pt x="12" y="7"/>
                    <a:pt x="11" y="9"/>
                  </a:cubicBezTo>
                  <a:cubicBezTo>
                    <a:pt x="11" y="9"/>
                    <a:pt x="11" y="9"/>
                    <a:pt x="11" y="9"/>
                  </a:cubicBezTo>
                  <a:cubicBezTo>
                    <a:pt x="11" y="9"/>
                    <a:pt x="11" y="9"/>
                    <a:pt x="11" y="9"/>
                  </a:cubicBezTo>
                  <a:cubicBezTo>
                    <a:pt x="11" y="9"/>
                    <a:pt x="11" y="9"/>
                    <a:pt x="11" y="9"/>
                  </a:cubicBezTo>
                  <a:cubicBezTo>
                    <a:pt x="11" y="10"/>
                    <a:pt x="11" y="10"/>
                    <a:pt x="11" y="10"/>
                  </a:cubicBezTo>
                  <a:cubicBezTo>
                    <a:pt x="9" y="14"/>
                    <a:pt x="8" y="18"/>
                    <a:pt x="5" y="22"/>
                  </a:cubicBezTo>
                  <a:cubicBezTo>
                    <a:pt x="11" y="43"/>
                    <a:pt x="11" y="43"/>
                    <a:pt x="11" y="43"/>
                  </a:cubicBezTo>
                  <a:cubicBezTo>
                    <a:pt x="20" y="54"/>
                    <a:pt x="20" y="54"/>
                    <a:pt x="20" y="54"/>
                  </a:cubicBezTo>
                  <a:cubicBezTo>
                    <a:pt x="20" y="54"/>
                    <a:pt x="20" y="55"/>
                    <a:pt x="20" y="56"/>
                  </a:cubicBezTo>
                  <a:cubicBezTo>
                    <a:pt x="20" y="59"/>
                    <a:pt x="18" y="66"/>
                    <a:pt x="16" y="67"/>
                  </a:cubicBezTo>
                  <a:cubicBezTo>
                    <a:pt x="6" y="71"/>
                    <a:pt x="6" y="71"/>
                    <a:pt x="6" y="71"/>
                  </a:cubicBezTo>
                  <a:cubicBezTo>
                    <a:pt x="1" y="77"/>
                    <a:pt x="1" y="77"/>
                    <a:pt x="1" y="77"/>
                  </a:cubicBezTo>
                  <a:cubicBezTo>
                    <a:pt x="2" y="99"/>
                    <a:pt x="2" y="99"/>
                    <a:pt x="2" y="99"/>
                  </a:cubicBezTo>
                  <a:cubicBezTo>
                    <a:pt x="2" y="110"/>
                    <a:pt x="2" y="110"/>
                    <a:pt x="2" y="110"/>
                  </a:cubicBezTo>
                  <a:cubicBezTo>
                    <a:pt x="2" y="111"/>
                    <a:pt x="2" y="111"/>
                    <a:pt x="2" y="111"/>
                  </a:cubicBezTo>
                  <a:cubicBezTo>
                    <a:pt x="2" y="111"/>
                    <a:pt x="0" y="125"/>
                    <a:pt x="0" y="126"/>
                  </a:cubicBezTo>
                  <a:cubicBezTo>
                    <a:pt x="0" y="128"/>
                    <a:pt x="3" y="147"/>
                    <a:pt x="3" y="148"/>
                  </a:cubicBezTo>
                  <a:cubicBezTo>
                    <a:pt x="4" y="181"/>
                    <a:pt x="4" y="181"/>
                    <a:pt x="4" y="181"/>
                  </a:cubicBezTo>
                  <a:cubicBezTo>
                    <a:pt x="61" y="169"/>
                    <a:pt x="61" y="169"/>
                    <a:pt x="61" y="169"/>
                  </a:cubicBezTo>
                  <a:cubicBezTo>
                    <a:pt x="76" y="155"/>
                    <a:pt x="76" y="155"/>
                    <a:pt x="76" y="155"/>
                  </a:cubicBezTo>
                  <a:cubicBezTo>
                    <a:pt x="76" y="153"/>
                    <a:pt x="76" y="153"/>
                    <a:pt x="76" y="153"/>
                  </a:cubicBezTo>
                  <a:cubicBezTo>
                    <a:pt x="76" y="153"/>
                    <a:pt x="76" y="153"/>
                    <a:pt x="76" y="153"/>
                  </a:cubicBezTo>
                  <a:cubicBezTo>
                    <a:pt x="76" y="153"/>
                    <a:pt x="76" y="153"/>
                    <a:pt x="76" y="153"/>
                  </a:cubicBezTo>
                  <a:cubicBezTo>
                    <a:pt x="76" y="153"/>
                    <a:pt x="76" y="153"/>
                    <a:pt x="76" y="153"/>
                  </a:cubicBezTo>
                  <a:cubicBezTo>
                    <a:pt x="76" y="153"/>
                    <a:pt x="76" y="153"/>
                    <a:pt x="76" y="153"/>
                  </a:cubicBezTo>
                  <a:cubicBezTo>
                    <a:pt x="77" y="148"/>
                    <a:pt x="80" y="143"/>
                    <a:pt x="83" y="138"/>
                  </a:cubicBezTo>
                  <a:cubicBezTo>
                    <a:pt x="60" y="113"/>
                    <a:pt x="60" y="113"/>
                    <a:pt x="60" y="113"/>
                  </a:cubicBezTo>
                  <a:cubicBezTo>
                    <a:pt x="60" y="112"/>
                    <a:pt x="60" y="112"/>
                    <a:pt x="60" y="112"/>
                  </a:cubicBezTo>
                  <a:lnTo>
                    <a:pt x="2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04" name="Freeform 44">
              <a:extLst>
                <a:ext uri="{FF2B5EF4-FFF2-40B4-BE49-F238E27FC236}">
                  <a16:creationId xmlns:a16="http://schemas.microsoft.com/office/drawing/2014/main" id="{291A8A13-17D4-349B-050C-E55855E2335F}"/>
                </a:ext>
              </a:extLst>
            </p:cNvPr>
            <p:cNvSpPr>
              <a:spLocks/>
            </p:cNvSpPr>
            <p:nvPr/>
          </p:nvSpPr>
          <p:spPr bwMode="auto">
            <a:xfrm>
              <a:off x="7538481" y="2079077"/>
              <a:ext cx="243387" cy="449567"/>
            </a:xfrm>
            <a:custGeom>
              <a:avLst/>
              <a:gdLst>
                <a:gd name="T0" fmla="*/ 74 w 88"/>
                <a:gd name="T1" fmla="*/ 0 h 162"/>
                <a:gd name="T2" fmla="*/ 36 w 88"/>
                <a:gd name="T3" fmla="*/ 10 h 162"/>
                <a:gd name="T4" fmla="*/ 0 w 88"/>
                <a:gd name="T5" fmla="*/ 20 h 162"/>
                <a:gd name="T6" fmla="*/ 22 w 88"/>
                <a:gd name="T7" fmla="*/ 104 h 162"/>
                <a:gd name="T8" fmla="*/ 24 w 88"/>
                <a:gd name="T9" fmla="*/ 106 h 162"/>
                <a:gd name="T10" fmla="*/ 35 w 88"/>
                <a:gd name="T11" fmla="*/ 127 h 162"/>
                <a:gd name="T12" fmla="*/ 44 w 88"/>
                <a:gd name="T13" fmla="*/ 162 h 162"/>
                <a:gd name="T14" fmla="*/ 72 w 88"/>
                <a:gd name="T15" fmla="*/ 156 h 162"/>
                <a:gd name="T16" fmla="*/ 71 w 88"/>
                <a:gd name="T17" fmla="*/ 122 h 162"/>
                <a:gd name="T18" fmla="*/ 69 w 88"/>
                <a:gd name="T19" fmla="*/ 112 h 162"/>
                <a:gd name="T20" fmla="*/ 68 w 88"/>
                <a:gd name="T21" fmla="*/ 100 h 162"/>
                <a:gd name="T22" fmla="*/ 69 w 88"/>
                <a:gd name="T23" fmla="*/ 91 h 162"/>
                <a:gd name="T24" fmla="*/ 70 w 88"/>
                <a:gd name="T25" fmla="*/ 84 h 162"/>
                <a:gd name="T26" fmla="*/ 70 w 88"/>
                <a:gd name="T27" fmla="*/ 73 h 162"/>
                <a:gd name="T28" fmla="*/ 69 w 88"/>
                <a:gd name="T29" fmla="*/ 50 h 162"/>
                <a:gd name="T30" fmla="*/ 77 w 88"/>
                <a:gd name="T31" fmla="*/ 39 h 162"/>
                <a:gd name="T32" fmla="*/ 86 w 88"/>
                <a:gd name="T33" fmla="*/ 35 h 162"/>
                <a:gd name="T34" fmla="*/ 88 w 88"/>
                <a:gd name="T35" fmla="*/ 30 h 162"/>
                <a:gd name="T36" fmla="*/ 80 w 88"/>
                <a:gd name="T37" fmla="*/ 20 h 162"/>
                <a:gd name="T38" fmla="*/ 80 w 88"/>
                <a:gd name="T39" fmla="*/ 19 h 162"/>
                <a:gd name="T40" fmla="*/ 74 w 88"/>
                <a:gd name="T4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62">
                  <a:moveTo>
                    <a:pt x="74" y="0"/>
                  </a:moveTo>
                  <a:cubicBezTo>
                    <a:pt x="65" y="4"/>
                    <a:pt x="53" y="6"/>
                    <a:pt x="36" y="10"/>
                  </a:cubicBezTo>
                  <a:cubicBezTo>
                    <a:pt x="23" y="13"/>
                    <a:pt x="11" y="16"/>
                    <a:pt x="0" y="20"/>
                  </a:cubicBezTo>
                  <a:cubicBezTo>
                    <a:pt x="22" y="104"/>
                    <a:pt x="22" y="104"/>
                    <a:pt x="22" y="104"/>
                  </a:cubicBezTo>
                  <a:cubicBezTo>
                    <a:pt x="24" y="106"/>
                    <a:pt x="24" y="106"/>
                    <a:pt x="24" y="106"/>
                  </a:cubicBezTo>
                  <a:cubicBezTo>
                    <a:pt x="33" y="116"/>
                    <a:pt x="31" y="111"/>
                    <a:pt x="35" y="127"/>
                  </a:cubicBezTo>
                  <a:cubicBezTo>
                    <a:pt x="44" y="162"/>
                    <a:pt x="44" y="162"/>
                    <a:pt x="44" y="162"/>
                  </a:cubicBezTo>
                  <a:cubicBezTo>
                    <a:pt x="72" y="156"/>
                    <a:pt x="72" y="156"/>
                    <a:pt x="72" y="156"/>
                  </a:cubicBezTo>
                  <a:cubicBezTo>
                    <a:pt x="71" y="122"/>
                    <a:pt x="71" y="122"/>
                    <a:pt x="71" y="122"/>
                  </a:cubicBezTo>
                  <a:cubicBezTo>
                    <a:pt x="69" y="112"/>
                    <a:pt x="69" y="112"/>
                    <a:pt x="69" y="112"/>
                  </a:cubicBezTo>
                  <a:cubicBezTo>
                    <a:pt x="69" y="107"/>
                    <a:pt x="68" y="101"/>
                    <a:pt x="68" y="100"/>
                  </a:cubicBezTo>
                  <a:cubicBezTo>
                    <a:pt x="68" y="99"/>
                    <a:pt x="68" y="95"/>
                    <a:pt x="69" y="91"/>
                  </a:cubicBezTo>
                  <a:cubicBezTo>
                    <a:pt x="70" y="84"/>
                    <a:pt x="70" y="84"/>
                    <a:pt x="70" y="84"/>
                  </a:cubicBezTo>
                  <a:cubicBezTo>
                    <a:pt x="70" y="73"/>
                    <a:pt x="70" y="73"/>
                    <a:pt x="70" y="73"/>
                  </a:cubicBezTo>
                  <a:cubicBezTo>
                    <a:pt x="69" y="50"/>
                    <a:pt x="69" y="50"/>
                    <a:pt x="69" y="50"/>
                  </a:cubicBezTo>
                  <a:cubicBezTo>
                    <a:pt x="69" y="48"/>
                    <a:pt x="75" y="40"/>
                    <a:pt x="77" y="39"/>
                  </a:cubicBezTo>
                  <a:cubicBezTo>
                    <a:pt x="86" y="35"/>
                    <a:pt x="86" y="35"/>
                    <a:pt x="86" y="35"/>
                  </a:cubicBezTo>
                  <a:cubicBezTo>
                    <a:pt x="88" y="30"/>
                    <a:pt x="88" y="30"/>
                    <a:pt x="88" y="30"/>
                  </a:cubicBezTo>
                  <a:cubicBezTo>
                    <a:pt x="80" y="20"/>
                    <a:pt x="80" y="20"/>
                    <a:pt x="80" y="20"/>
                  </a:cubicBezTo>
                  <a:cubicBezTo>
                    <a:pt x="80" y="19"/>
                    <a:pt x="80" y="19"/>
                    <a:pt x="80" y="19"/>
                  </a:cubicBezTo>
                  <a:lnTo>
                    <a:pt x="7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5" name="Freeform 45">
              <a:extLst>
                <a:ext uri="{FF2B5EF4-FFF2-40B4-BE49-F238E27FC236}">
                  <a16:creationId xmlns:a16="http://schemas.microsoft.com/office/drawing/2014/main" id="{60573AA9-C7B0-8191-7DFE-B674FBCEA530}"/>
                </a:ext>
              </a:extLst>
            </p:cNvPr>
            <p:cNvSpPr>
              <a:spLocks/>
            </p:cNvSpPr>
            <p:nvPr/>
          </p:nvSpPr>
          <p:spPr bwMode="auto">
            <a:xfrm>
              <a:off x="6716860" y="2753427"/>
              <a:ext cx="830923" cy="544131"/>
            </a:xfrm>
            <a:custGeom>
              <a:avLst/>
              <a:gdLst>
                <a:gd name="T0" fmla="*/ 248 w 300"/>
                <a:gd name="T1" fmla="*/ 0 h 196"/>
                <a:gd name="T2" fmla="*/ 33 w 300"/>
                <a:gd name="T3" fmla="*/ 41 h 196"/>
                <a:gd name="T4" fmla="*/ 33 w 300"/>
                <a:gd name="T5" fmla="*/ 42 h 196"/>
                <a:gd name="T6" fmla="*/ 33 w 300"/>
                <a:gd name="T7" fmla="*/ 42 h 196"/>
                <a:gd name="T8" fmla="*/ 29 w 300"/>
                <a:gd name="T9" fmla="*/ 36 h 196"/>
                <a:gd name="T10" fmla="*/ 27 w 300"/>
                <a:gd name="T11" fmla="*/ 26 h 196"/>
                <a:gd name="T12" fmla="*/ 27 w 300"/>
                <a:gd name="T13" fmla="*/ 26 h 196"/>
                <a:gd name="T14" fmla="*/ 25 w 300"/>
                <a:gd name="T15" fmla="*/ 29 h 196"/>
                <a:gd name="T16" fmla="*/ 11 w 300"/>
                <a:gd name="T17" fmla="*/ 40 h 196"/>
                <a:gd name="T18" fmla="*/ 0 w 300"/>
                <a:gd name="T19" fmla="*/ 48 h 196"/>
                <a:gd name="T20" fmla="*/ 12 w 300"/>
                <a:gd name="T21" fmla="*/ 117 h 196"/>
                <a:gd name="T22" fmla="*/ 12 w 300"/>
                <a:gd name="T23" fmla="*/ 126 h 196"/>
                <a:gd name="T24" fmla="*/ 26 w 300"/>
                <a:gd name="T25" fmla="*/ 196 h 196"/>
                <a:gd name="T26" fmla="*/ 142 w 300"/>
                <a:gd name="T27" fmla="*/ 175 h 196"/>
                <a:gd name="T28" fmla="*/ 260 w 300"/>
                <a:gd name="T29" fmla="*/ 150 h 196"/>
                <a:gd name="T30" fmla="*/ 261 w 300"/>
                <a:gd name="T31" fmla="*/ 148 h 196"/>
                <a:gd name="T32" fmla="*/ 280 w 300"/>
                <a:gd name="T33" fmla="*/ 126 h 196"/>
                <a:gd name="T34" fmla="*/ 300 w 300"/>
                <a:gd name="T35" fmla="*/ 109 h 196"/>
                <a:gd name="T36" fmla="*/ 273 w 300"/>
                <a:gd name="T37" fmla="*/ 77 h 196"/>
                <a:gd name="T38" fmla="*/ 272 w 300"/>
                <a:gd name="T39" fmla="*/ 74 h 196"/>
                <a:gd name="T40" fmla="*/ 272 w 300"/>
                <a:gd name="T41" fmla="*/ 74 h 196"/>
                <a:gd name="T42" fmla="*/ 283 w 300"/>
                <a:gd name="T43" fmla="*/ 32 h 196"/>
                <a:gd name="T44" fmla="*/ 270 w 300"/>
                <a:gd name="T45" fmla="*/ 25 h 196"/>
                <a:gd name="T46" fmla="*/ 269 w 300"/>
                <a:gd name="T47" fmla="*/ 24 h 196"/>
                <a:gd name="T48" fmla="*/ 248 w 300"/>
                <a:gd name="T4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0" h="196">
                  <a:moveTo>
                    <a:pt x="248" y="0"/>
                  </a:moveTo>
                  <a:cubicBezTo>
                    <a:pt x="33" y="41"/>
                    <a:pt x="33" y="41"/>
                    <a:pt x="33" y="41"/>
                  </a:cubicBezTo>
                  <a:cubicBezTo>
                    <a:pt x="33" y="42"/>
                    <a:pt x="33" y="42"/>
                    <a:pt x="33" y="42"/>
                  </a:cubicBezTo>
                  <a:cubicBezTo>
                    <a:pt x="33" y="42"/>
                    <a:pt x="33" y="42"/>
                    <a:pt x="33" y="42"/>
                  </a:cubicBezTo>
                  <a:cubicBezTo>
                    <a:pt x="31" y="42"/>
                    <a:pt x="30" y="39"/>
                    <a:pt x="29" y="36"/>
                  </a:cubicBezTo>
                  <a:cubicBezTo>
                    <a:pt x="28" y="33"/>
                    <a:pt x="27" y="30"/>
                    <a:pt x="27" y="26"/>
                  </a:cubicBezTo>
                  <a:cubicBezTo>
                    <a:pt x="27" y="26"/>
                    <a:pt x="27" y="26"/>
                    <a:pt x="27" y="26"/>
                  </a:cubicBezTo>
                  <a:cubicBezTo>
                    <a:pt x="25" y="29"/>
                    <a:pt x="25" y="29"/>
                    <a:pt x="25" y="29"/>
                  </a:cubicBezTo>
                  <a:cubicBezTo>
                    <a:pt x="21" y="33"/>
                    <a:pt x="16" y="36"/>
                    <a:pt x="11" y="40"/>
                  </a:cubicBezTo>
                  <a:cubicBezTo>
                    <a:pt x="6" y="43"/>
                    <a:pt x="3" y="45"/>
                    <a:pt x="0" y="48"/>
                  </a:cubicBezTo>
                  <a:cubicBezTo>
                    <a:pt x="4" y="68"/>
                    <a:pt x="9" y="96"/>
                    <a:pt x="12" y="117"/>
                  </a:cubicBezTo>
                  <a:cubicBezTo>
                    <a:pt x="12" y="120"/>
                    <a:pt x="12" y="123"/>
                    <a:pt x="12" y="126"/>
                  </a:cubicBezTo>
                  <a:cubicBezTo>
                    <a:pt x="26" y="196"/>
                    <a:pt x="26" y="196"/>
                    <a:pt x="26" y="196"/>
                  </a:cubicBezTo>
                  <a:cubicBezTo>
                    <a:pt x="41" y="193"/>
                    <a:pt x="109" y="181"/>
                    <a:pt x="142" y="175"/>
                  </a:cubicBezTo>
                  <a:cubicBezTo>
                    <a:pt x="176" y="168"/>
                    <a:pt x="247" y="153"/>
                    <a:pt x="260" y="150"/>
                  </a:cubicBezTo>
                  <a:cubicBezTo>
                    <a:pt x="261" y="148"/>
                    <a:pt x="261" y="148"/>
                    <a:pt x="261" y="148"/>
                  </a:cubicBezTo>
                  <a:cubicBezTo>
                    <a:pt x="280" y="126"/>
                    <a:pt x="280" y="126"/>
                    <a:pt x="280" y="126"/>
                  </a:cubicBezTo>
                  <a:cubicBezTo>
                    <a:pt x="300" y="109"/>
                    <a:pt x="300" y="109"/>
                    <a:pt x="300" y="109"/>
                  </a:cubicBezTo>
                  <a:cubicBezTo>
                    <a:pt x="273" y="77"/>
                    <a:pt x="273" y="77"/>
                    <a:pt x="273" y="77"/>
                  </a:cubicBezTo>
                  <a:cubicBezTo>
                    <a:pt x="272" y="74"/>
                    <a:pt x="272" y="74"/>
                    <a:pt x="272" y="74"/>
                  </a:cubicBezTo>
                  <a:cubicBezTo>
                    <a:pt x="272" y="74"/>
                    <a:pt x="272" y="74"/>
                    <a:pt x="272" y="74"/>
                  </a:cubicBezTo>
                  <a:cubicBezTo>
                    <a:pt x="283" y="32"/>
                    <a:pt x="283" y="32"/>
                    <a:pt x="283" y="32"/>
                  </a:cubicBezTo>
                  <a:cubicBezTo>
                    <a:pt x="270" y="25"/>
                    <a:pt x="270" y="25"/>
                    <a:pt x="270" y="25"/>
                  </a:cubicBezTo>
                  <a:cubicBezTo>
                    <a:pt x="269" y="24"/>
                    <a:pt x="269" y="24"/>
                    <a:pt x="269" y="24"/>
                  </a:cubicBezTo>
                  <a:lnTo>
                    <a:pt x="2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6" name="Freeform 46">
              <a:extLst>
                <a:ext uri="{FF2B5EF4-FFF2-40B4-BE49-F238E27FC236}">
                  <a16:creationId xmlns:a16="http://schemas.microsoft.com/office/drawing/2014/main" id="{B2E9A821-18B1-4AB1-04B5-4130C5BA9C2D}"/>
                </a:ext>
              </a:extLst>
            </p:cNvPr>
            <p:cNvSpPr>
              <a:spLocks/>
            </p:cNvSpPr>
            <p:nvPr/>
          </p:nvSpPr>
          <p:spPr bwMode="auto">
            <a:xfrm>
              <a:off x="6811423" y="2137985"/>
              <a:ext cx="874329" cy="787517"/>
            </a:xfrm>
            <a:custGeom>
              <a:avLst/>
              <a:gdLst>
                <a:gd name="T0" fmla="*/ 257 w 316"/>
                <a:gd name="T1" fmla="*/ 0 h 284"/>
                <a:gd name="T2" fmla="*/ 245 w 316"/>
                <a:gd name="T3" fmla="*/ 3 h 284"/>
                <a:gd name="T4" fmla="*/ 195 w 316"/>
                <a:gd name="T5" fmla="*/ 18 h 284"/>
                <a:gd name="T6" fmla="*/ 169 w 316"/>
                <a:gd name="T7" fmla="*/ 41 h 284"/>
                <a:gd name="T8" fmla="*/ 143 w 316"/>
                <a:gd name="T9" fmla="*/ 77 h 284"/>
                <a:gd name="T10" fmla="*/ 138 w 316"/>
                <a:gd name="T11" fmla="*/ 86 h 284"/>
                <a:gd name="T12" fmla="*/ 139 w 316"/>
                <a:gd name="T13" fmla="*/ 92 h 284"/>
                <a:gd name="T14" fmla="*/ 150 w 316"/>
                <a:gd name="T15" fmla="*/ 106 h 284"/>
                <a:gd name="T16" fmla="*/ 151 w 316"/>
                <a:gd name="T17" fmla="*/ 112 h 284"/>
                <a:gd name="T18" fmla="*/ 146 w 316"/>
                <a:gd name="T19" fmla="*/ 125 h 284"/>
                <a:gd name="T20" fmla="*/ 129 w 316"/>
                <a:gd name="T21" fmla="*/ 147 h 284"/>
                <a:gd name="T22" fmla="*/ 109 w 316"/>
                <a:gd name="T23" fmla="*/ 155 h 284"/>
                <a:gd name="T24" fmla="*/ 100 w 316"/>
                <a:gd name="T25" fmla="*/ 156 h 284"/>
                <a:gd name="T26" fmla="*/ 84 w 316"/>
                <a:gd name="T27" fmla="*/ 155 h 284"/>
                <a:gd name="T28" fmla="*/ 49 w 316"/>
                <a:gd name="T29" fmla="*/ 156 h 284"/>
                <a:gd name="T30" fmla="*/ 25 w 316"/>
                <a:gd name="T31" fmla="*/ 167 h 284"/>
                <a:gd name="T32" fmla="*/ 22 w 316"/>
                <a:gd name="T33" fmla="*/ 173 h 284"/>
                <a:gd name="T34" fmla="*/ 26 w 316"/>
                <a:gd name="T35" fmla="*/ 185 h 284"/>
                <a:gd name="T36" fmla="*/ 32 w 316"/>
                <a:gd name="T37" fmla="*/ 204 h 284"/>
                <a:gd name="T38" fmla="*/ 14 w 316"/>
                <a:gd name="T39" fmla="*/ 229 h 284"/>
                <a:gd name="T40" fmla="*/ 0 w 316"/>
                <a:gd name="T41" fmla="*/ 242 h 284"/>
                <a:gd name="T42" fmla="*/ 1 w 316"/>
                <a:gd name="T43" fmla="*/ 257 h 284"/>
                <a:gd name="T44" fmla="*/ 215 w 316"/>
                <a:gd name="T45" fmla="*/ 216 h 284"/>
                <a:gd name="T46" fmla="*/ 215 w 316"/>
                <a:gd name="T47" fmla="*/ 216 h 284"/>
                <a:gd name="T48" fmla="*/ 218 w 316"/>
                <a:gd name="T49" fmla="*/ 217 h 284"/>
                <a:gd name="T50" fmla="*/ 239 w 316"/>
                <a:gd name="T51" fmla="*/ 242 h 284"/>
                <a:gd name="T52" fmla="*/ 256 w 316"/>
                <a:gd name="T53" fmla="*/ 250 h 284"/>
                <a:gd name="T54" fmla="*/ 296 w 316"/>
                <a:gd name="T55" fmla="*/ 243 h 284"/>
                <a:gd name="T56" fmla="*/ 304 w 316"/>
                <a:gd name="T57" fmla="*/ 284 h 284"/>
                <a:gd name="T58" fmla="*/ 309 w 316"/>
                <a:gd name="T59" fmla="*/ 275 h 284"/>
                <a:gd name="T60" fmla="*/ 307 w 316"/>
                <a:gd name="T61" fmla="*/ 273 h 284"/>
                <a:gd name="T62" fmla="*/ 308 w 316"/>
                <a:gd name="T63" fmla="*/ 269 h 284"/>
                <a:gd name="T64" fmla="*/ 308 w 316"/>
                <a:gd name="T65" fmla="*/ 269 h 284"/>
                <a:gd name="T66" fmla="*/ 308 w 316"/>
                <a:gd name="T67" fmla="*/ 269 h 284"/>
                <a:gd name="T68" fmla="*/ 316 w 316"/>
                <a:gd name="T69" fmla="*/ 263 h 284"/>
                <a:gd name="T70" fmla="*/ 311 w 316"/>
                <a:gd name="T71" fmla="*/ 260 h 284"/>
                <a:gd name="T72" fmla="*/ 305 w 316"/>
                <a:gd name="T73" fmla="*/ 253 h 284"/>
                <a:gd name="T74" fmla="*/ 312 w 316"/>
                <a:gd name="T75" fmla="*/ 244 h 284"/>
                <a:gd name="T76" fmla="*/ 303 w 316"/>
                <a:gd name="T77" fmla="*/ 193 h 284"/>
                <a:gd name="T78" fmla="*/ 303 w 316"/>
                <a:gd name="T79" fmla="*/ 191 h 284"/>
                <a:gd name="T80" fmla="*/ 302 w 316"/>
                <a:gd name="T81" fmla="*/ 145 h 284"/>
                <a:gd name="T82" fmla="*/ 298 w 316"/>
                <a:gd name="T83" fmla="*/ 132 h 284"/>
                <a:gd name="T84" fmla="*/ 289 w 316"/>
                <a:gd name="T85" fmla="*/ 95 h 284"/>
                <a:gd name="T86" fmla="*/ 287 w 316"/>
                <a:gd name="T87" fmla="*/ 93 h 284"/>
                <a:gd name="T88" fmla="*/ 272 w 316"/>
                <a:gd name="T89" fmla="*/ 58 h 284"/>
                <a:gd name="T90" fmla="*/ 257 w 316"/>
                <a:gd name="T9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6" h="284">
                  <a:moveTo>
                    <a:pt x="257" y="0"/>
                  </a:moveTo>
                  <a:cubicBezTo>
                    <a:pt x="253" y="1"/>
                    <a:pt x="249" y="2"/>
                    <a:pt x="245" y="3"/>
                  </a:cubicBezTo>
                  <a:cubicBezTo>
                    <a:pt x="228" y="7"/>
                    <a:pt x="210" y="16"/>
                    <a:pt x="195" y="18"/>
                  </a:cubicBezTo>
                  <a:cubicBezTo>
                    <a:pt x="180" y="20"/>
                    <a:pt x="175" y="31"/>
                    <a:pt x="169" y="41"/>
                  </a:cubicBezTo>
                  <a:cubicBezTo>
                    <a:pt x="163" y="50"/>
                    <a:pt x="151" y="74"/>
                    <a:pt x="143" y="77"/>
                  </a:cubicBezTo>
                  <a:cubicBezTo>
                    <a:pt x="139" y="79"/>
                    <a:pt x="138" y="83"/>
                    <a:pt x="138" y="86"/>
                  </a:cubicBezTo>
                  <a:cubicBezTo>
                    <a:pt x="138" y="89"/>
                    <a:pt x="139" y="92"/>
                    <a:pt x="139" y="92"/>
                  </a:cubicBezTo>
                  <a:cubicBezTo>
                    <a:pt x="139" y="92"/>
                    <a:pt x="148" y="99"/>
                    <a:pt x="150" y="106"/>
                  </a:cubicBezTo>
                  <a:cubicBezTo>
                    <a:pt x="150" y="108"/>
                    <a:pt x="151" y="110"/>
                    <a:pt x="151" y="112"/>
                  </a:cubicBezTo>
                  <a:cubicBezTo>
                    <a:pt x="151" y="116"/>
                    <a:pt x="149" y="120"/>
                    <a:pt x="146" y="125"/>
                  </a:cubicBezTo>
                  <a:cubicBezTo>
                    <a:pt x="142" y="133"/>
                    <a:pt x="132" y="143"/>
                    <a:pt x="129" y="147"/>
                  </a:cubicBezTo>
                  <a:cubicBezTo>
                    <a:pt x="126" y="151"/>
                    <a:pt x="121" y="153"/>
                    <a:pt x="109" y="155"/>
                  </a:cubicBezTo>
                  <a:cubicBezTo>
                    <a:pt x="106" y="155"/>
                    <a:pt x="102" y="156"/>
                    <a:pt x="100" y="156"/>
                  </a:cubicBezTo>
                  <a:cubicBezTo>
                    <a:pt x="94" y="156"/>
                    <a:pt x="89" y="155"/>
                    <a:pt x="84" y="155"/>
                  </a:cubicBezTo>
                  <a:cubicBezTo>
                    <a:pt x="77" y="155"/>
                    <a:pt x="62" y="155"/>
                    <a:pt x="49" y="156"/>
                  </a:cubicBezTo>
                  <a:cubicBezTo>
                    <a:pt x="36" y="157"/>
                    <a:pt x="33" y="161"/>
                    <a:pt x="25" y="167"/>
                  </a:cubicBezTo>
                  <a:cubicBezTo>
                    <a:pt x="23" y="169"/>
                    <a:pt x="22" y="171"/>
                    <a:pt x="22" y="173"/>
                  </a:cubicBezTo>
                  <a:cubicBezTo>
                    <a:pt x="22" y="177"/>
                    <a:pt x="25" y="181"/>
                    <a:pt x="26" y="185"/>
                  </a:cubicBezTo>
                  <a:cubicBezTo>
                    <a:pt x="28" y="191"/>
                    <a:pt x="32" y="199"/>
                    <a:pt x="32" y="204"/>
                  </a:cubicBezTo>
                  <a:cubicBezTo>
                    <a:pt x="32" y="210"/>
                    <a:pt x="21" y="221"/>
                    <a:pt x="14" y="229"/>
                  </a:cubicBezTo>
                  <a:cubicBezTo>
                    <a:pt x="9" y="234"/>
                    <a:pt x="5" y="238"/>
                    <a:pt x="0" y="242"/>
                  </a:cubicBezTo>
                  <a:cubicBezTo>
                    <a:pt x="1" y="257"/>
                    <a:pt x="1" y="257"/>
                    <a:pt x="1" y="257"/>
                  </a:cubicBezTo>
                  <a:cubicBezTo>
                    <a:pt x="215" y="216"/>
                    <a:pt x="215" y="216"/>
                    <a:pt x="215" y="216"/>
                  </a:cubicBezTo>
                  <a:cubicBezTo>
                    <a:pt x="215" y="216"/>
                    <a:pt x="215" y="216"/>
                    <a:pt x="215" y="216"/>
                  </a:cubicBezTo>
                  <a:cubicBezTo>
                    <a:pt x="218" y="217"/>
                    <a:pt x="218" y="217"/>
                    <a:pt x="218" y="217"/>
                  </a:cubicBezTo>
                  <a:cubicBezTo>
                    <a:pt x="239" y="242"/>
                    <a:pt x="239" y="242"/>
                    <a:pt x="239" y="242"/>
                  </a:cubicBezTo>
                  <a:cubicBezTo>
                    <a:pt x="256" y="250"/>
                    <a:pt x="256" y="250"/>
                    <a:pt x="256" y="250"/>
                  </a:cubicBezTo>
                  <a:cubicBezTo>
                    <a:pt x="296" y="243"/>
                    <a:pt x="296" y="243"/>
                    <a:pt x="296" y="243"/>
                  </a:cubicBezTo>
                  <a:cubicBezTo>
                    <a:pt x="296" y="243"/>
                    <a:pt x="301" y="268"/>
                    <a:pt x="304" y="284"/>
                  </a:cubicBezTo>
                  <a:cubicBezTo>
                    <a:pt x="309" y="275"/>
                    <a:pt x="309" y="275"/>
                    <a:pt x="309" y="275"/>
                  </a:cubicBezTo>
                  <a:cubicBezTo>
                    <a:pt x="307" y="275"/>
                    <a:pt x="307" y="274"/>
                    <a:pt x="307" y="273"/>
                  </a:cubicBezTo>
                  <a:cubicBezTo>
                    <a:pt x="307" y="271"/>
                    <a:pt x="308" y="270"/>
                    <a:pt x="308" y="269"/>
                  </a:cubicBezTo>
                  <a:cubicBezTo>
                    <a:pt x="308" y="269"/>
                    <a:pt x="308" y="269"/>
                    <a:pt x="308" y="269"/>
                  </a:cubicBezTo>
                  <a:cubicBezTo>
                    <a:pt x="308" y="269"/>
                    <a:pt x="308" y="269"/>
                    <a:pt x="308" y="269"/>
                  </a:cubicBezTo>
                  <a:cubicBezTo>
                    <a:pt x="308" y="269"/>
                    <a:pt x="311" y="267"/>
                    <a:pt x="316" y="263"/>
                  </a:cubicBezTo>
                  <a:cubicBezTo>
                    <a:pt x="311" y="260"/>
                    <a:pt x="311" y="260"/>
                    <a:pt x="311" y="260"/>
                  </a:cubicBezTo>
                  <a:cubicBezTo>
                    <a:pt x="308" y="255"/>
                    <a:pt x="305" y="254"/>
                    <a:pt x="305" y="253"/>
                  </a:cubicBezTo>
                  <a:cubicBezTo>
                    <a:pt x="305" y="251"/>
                    <a:pt x="307" y="249"/>
                    <a:pt x="312" y="244"/>
                  </a:cubicBezTo>
                  <a:cubicBezTo>
                    <a:pt x="303" y="193"/>
                    <a:pt x="303" y="193"/>
                    <a:pt x="303" y="193"/>
                  </a:cubicBezTo>
                  <a:cubicBezTo>
                    <a:pt x="303" y="191"/>
                    <a:pt x="303" y="191"/>
                    <a:pt x="303" y="191"/>
                  </a:cubicBezTo>
                  <a:cubicBezTo>
                    <a:pt x="302" y="145"/>
                    <a:pt x="302" y="145"/>
                    <a:pt x="302" y="145"/>
                  </a:cubicBezTo>
                  <a:cubicBezTo>
                    <a:pt x="300" y="142"/>
                    <a:pt x="299" y="136"/>
                    <a:pt x="298" y="132"/>
                  </a:cubicBezTo>
                  <a:cubicBezTo>
                    <a:pt x="289" y="95"/>
                    <a:pt x="289" y="95"/>
                    <a:pt x="289" y="95"/>
                  </a:cubicBezTo>
                  <a:cubicBezTo>
                    <a:pt x="287" y="93"/>
                    <a:pt x="287" y="93"/>
                    <a:pt x="287" y="93"/>
                  </a:cubicBezTo>
                  <a:cubicBezTo>
                    <a:pt x="274" y="80"/>
                    <a:pt x="280" y="87"/>
                    <a:pt x="272" y="58"/>
                  </a:cubicBezTo>
                  <a:lnTo>
                    <a:pt x="25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07" name="Freeform 47">
              <a:extLst>
                <a:ext uri="{FF2B5EF4-FFF2-40B4-BE49-F238E27FC236}">
                  <a16:creationId xmlns:a16="http://schemas.microsoft.com/office/drawing/2014/main" id="{601FBA61-9505-B736-C474-ACF4ADF817DE}"/>
                </a:ext>
              </a:extLst>
            </p:cNvPr>
            <p:cNvSpPr>
              <a:spLocks/>
            </p:cNvSpPr>
            <p:nvPr/>
          </p:nvSpPr>
          <p:spPr bwMode="auto">
            <a:xfrm>
              <a:off x="7685753" y="2844891"/>
              <a:ext cx="159675" cy="89914"/>
            </a:xfrm>
            <a:custGeom>
              <a:avLst/>
              <a:gdLst>
                <a:gd name="T0" fmla="*/ 48 w 58"/>
                <a:gd name="T1" fmla="*/ 0 h 32"/>
                <a:gd name="T2" fmla="*/ 42 w 58"/>
                <a:gd name="T3" fmla="*/ 1 h 32"/>
                <a:gd name="T4" fmla="*/ 11 w 58"/>
                <a:gd name="T5" fmla="*/ 16 h 32"/>
                <a:gd name="T6" fmla="*/ 3 w 58"/>
                <a:gd name="T7" fmla="*/ 19 h 32"/>
                <a:gd name="T8" fmla="*/ 1 w 58"/>
                <a:gd name="T9" fmla="*/ 22 h 32"/>
                <a:gd name="T10" fmla="*/ 2 w 58"/>
                <a:gd name="T11" fmla="*/ 31 h 32"/>
                <a:gd name="T12" fmla="*/ 3 w 58"/>
                <a:gd name="T13" fmla="*/ 32 h 32"/>
                <a:gd name="T14" fmla="*/ 44 w 58"/>
                <a:gd name="T15" fmla="*/ 13 h 32"/>
                <a:gd name="T16" fmla="*/ 57 w 58"/>
                <a:gd name="T17" fmla="*/ 3 h 32"/>
                <a:gd name="T18" fmla="*/ 48 w 58"/>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32">
                  <a:moveTo>
                    <a:pt x="48" y="0"/>
                  </a:moveTo>
                  <a:cubicBezTo>
                    <a:pt x="46" y="0"/>
                    <a:pt x="44" y="1"/>
                    <a:pt x="42" y="1"/>
                  </a:cubicBezTo>
                  <a:cubicBezTo>
                    <a:pt x="32" y="5"/>
                    <a:pt x="22" y="13"/>
                    <a:pt x="11" y="16"/>
                  </a:cubicBezTo>
                  <a:cubicBezTo>
                    <a:pt x="11" y="16"/>
                    <a:pt x="7" y="18"/>
                    <a:pt x="3" y="19"/>
                  </a:cubicBezTo>
                  <a:cubicBezTo>
                    <a:pt x="2" y="20"/>
                    <a:pt x="1" y="21"/>
                    <a:pt x="1" y="22"/>
                  </a:cubicBezTo>
                  <a:cubicBezTo>
                    <a:pt x="0" y="25"/>
                    <a:pt x="0" y="29"/>
                    <a:pt x="2" y="31"/>
                  </a:cubicBezTo>
                  <a:cubicBezTo>
                    <a:pt x="3" y="32"/>
                    <a:pt x="3" y="32"/>
                    <a:pt x="3" y="32"/>
                  </a:cubicBezTo>
                  <a:cubicBezTo>
                    <a:pt x="13" y="28"/>
                    <a:pt x="32" y="21"/>
                    <a:pt x="44" y="13"/>
                  </a:cubicBezTo>
                  <a:cubicBezTo>
                    <a:pt x="58" y="4"/>
                    <a:pt x="57" y="3"/>
                    <a:pt x="57" y="3"/>
                  </a:cubicBezTo>
                  <a:cubicBezTo>
                    <a:pt x="57" y="3"/>
                    <a:pt x="54" y="0"/>
                    <a:pt x="48"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08" name="Freeform 48">
              <a:extLst>
                <a:ext uri="{FF2B5EF4-FFF2-40B4-BE49-F238E27FC236}">
                  <a16:creationId xmlns:a16="http://schemas.microsoft.com/office/drawing/2014/main" id="{DA7E91D0-3562-C5A6-7BCE-BBFC5012C40A}"/>
                </a:ext>
              </a:extLst>
            </p:cNvPr>
            <p:cNvSpPr>
              <a:spLocks/>
            </p:cNvSpPr>
            <p:nvPr/>
          </p:nvSpPr>
          <p:spPr bwMode="auto">
            <a:xfrm>
              <a:off x="5854932" y="2271305"/>
              <a:ext cx="568935" cy="759613"/>
            </a:xfrm>
            <a:custGeom>
              <a:avLst/>
              <a:gdLst>
                <a:gd name="T0" fmla="*/ 56 w 206"/>
                <a:gd name="T1" fmla="*/ 7 h 274"/>
                <a:gd name="T2" fmla="*/ 56 w 206"/>
                <a:gd name="T3" fmla="*/ 26 h 274"/>
                <a:gd name="T4" fmla="*/ 55 w 206"/>
                <a:gd name="T5" fmla="*/ 32 h 274"/>
                <a:gd name="T6" fmla="*/ 52 w 206"/>
                <a:gd name="T7" fmla="*/ 31 h 274"/>
                <a:gd name="T8" fmla="*/ 46 w 206"/>
                <a:gd name="T9" fmla="*/ 32 h 274"/>
                <a:gd name="T10" fmla="*/ 45 w 206"/>
                <a:gd name="T11" fmla="*/ 53 h 274"/>
                <a:gd name="T12" fmla="*/ 45 w 206"/>
                <a:gd name="T13" fmla="*/ 54 h 274"/>
                <a:gd name="T14" fmla="*/ 36 w 206"/>
                <a:gd name="T15" fmla="*/ 67 h 274"/>
                <a:gd name="T16" fmla="*/ 28 w 206"/>
                <a:gd name="T17" fmla="*/ 56 h 274"/>
                <a:gd name="T18" fmla="*/ 27 w 206"/>
                <a:gd name="T19" fmla="*/ 55 h 274"/>
                <a:gd name="T20" fmla="*/ 8 w 206"/>
                <a:gd name="T21" fmla="*/ 78 h 274"/>
                <a:gd name="T22" fmla="*/ 1 w 206"/>
                <a:gd name="T23" fmla="*/ 122 h 274"/>
                <a:gd name="T24" fmla="*/ 1 w 206"/>
                <a:gd name="T25" fmla="*/ 138 h 274"/>
                <a:gd name="T26" fmla="*/ 4 w 206"/>
                <a:gd name="T27" fmla="*/ 162 h 274"/>
                <a:gd name="T28" fmla="*/ 21 w 206"/>
                <a:gd name="T29" fmla="*/ 208 h 274"/>
                <a:gd name="T30" fmla="*/ 5 w 206"/>
                <a:gd name="T31" fmla="*/ 273 h 274"/>
                <a:gd name="T32" fmla="*/ 33 w 206"/>
                <a:gd name="T33" fmla="*/ 274 h 274"/>
                <a:gd name="T34" fmla="*/ 59 w 206"/>
                <a:gd name="T35" fmla="*/ 273 h 274"/>
                <a:gd name="T36" fmla="*/ 174 w 206"/>
                <a:gd name="T37" fmla="*/ 249 h 274"/>
                <a:gd name="T38" fmla="*/ 190 w 206"/>
                <a:gd name="T39" fmla="*/ 201 h 274"/>
                <a:gd name="T40" fmla="*/ 206 w 206"/>
                <a:gd name="T41" fmla="*/ 177 h 274"/>
                <a:gd name="T42" fmla="*/ 186 w 206"/>
                <a:gd name="T43" fmla="*/ 122 h 274"/>
                <a:gd name="T44" fmla="*/ 168 w 206"/>
                <a:gd name="T45" fmla="*/ 106 h 274"/>
                <a:gd name="T46" fmla="*/ 151 w 206"/>
                <a:gd name="T47" fmla="*/ 120 h 274"/>
                <a:gd name="T48" fmla="*/ 131 w 206"/>
                <a:gd name="T49" fmla="*/ 136 h 274"/>
                <a:gd name="T50" fmla="*/ 126 w 206"/>
                <a:gd name="T51" fmla="*/ 130 h 274"/>
                <a:gd name="T52" fmla="*/ 129 w 206"/>
                <a:gd name="T53" fmla="*/ 116 h 274"/>
                <a:gd name="T54" fmla="*/ 142 w 206"/>
                <a:gd name="T55" fmla="*/ 98 h 274"/>
                <a:gd name="T56" fmla="*/ 146 w 206"/>
                <a:gd name="T57" fmla="*/ 78 h 274"/>
                <a:gd name="T58" fmla="*/ 140 w 206"/>
                <a:gd name="T59" fmla="*/ 46 h 274"/>
                <a:gd name="T60" fmla="*/ 140 w 206"/>
                <a:gd name="T61" fmla="*/ 41 h 274"/>
                <a:gd name="T62" fmla="*/ 102 w 206"/>
                <a:gd name="T63" fmla="*/ 14 h 274"/>
                <a:gd name="T64" fmla="*/ 71 w 206"/>
                <a:gd name="T65"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6" h="274">
                  <a:moveTo>
                    <a:pt x="71" y="0"/>
                  </a:moveTo>
                  <a:cubicBezTo>
                    <a:pt x="66" y="0"/>
                    <a:pt x="59" y="4"/>
                    <a:pt x="56" y="7"/>
                  </a:cubicBezTo>
                  <a:cubicBezTo>
                    <a:pt x="54" y="8"/>
                    <a:pt x="53" y="9"/>
                    <a:pt x="53" y="11"/>
                  </a:cubicBezTo>
                  <a:cubicBezTo>
                    <a:pt x="53" y="14"/>
                    <a:pt x="56" y="19"/>
                    <a:pt x="56" y="26"/>
                  </a:cubicBezTo>
                  <a:cubicBezTo>
                    <a:pt x="56" y="31"/>
                    <a:pt x="56" y="32"/>
                    <a:pt x="55" y="32"/>
                  </a:cubicBezTo>
                  <a:cubicBezTo>
                    <a:pt x="55" y="32"/>
                    <a:pt x="55" y="32"/>
                    <a:pt x="55" y="32"/>
                  </a:cubicBezTo>
                  <a:cubicBezTo>
                    <a:pt x="53" y="31"/>
                    <a:pt x="53" y="31"/>
                    <a:pt x="53" y="31"/>
                  </a:cubicBezTo>
                  <a:cubicBezTo>
                    <a:pt x="52" y="31"/>
                    <a:pt x="52" y="31"/>
                    <a:pt x="52" y="31"/>
                  </a:cubicBezTo>
                  <a:cubicBezTo>
                    <a:pt x="50" y="31"/>
                    <a:pt x="50" y="31"/>
                    <a:pt x="50" y="31"/>
                  </a:cubicBezTo>
                  <a:cubicBezTo>
                    <a:pt x="49" y="31"/>
                    <a:pt x="47" y="31"/>
                    <a:pt x="46" y="32"/>
                  </a:cubicBezTo>
                  <a:cubicBezTo>
                    <a:pt x="43" y="33"/>
                    <a:pt x="42" y="34"/>
                    <a:pt x="42" y="36"/>
                  </a:cubicBezTo>
                  <a:cubicBezTo>
                    <a:pt x="42" y="40"/>
                    <a:pt x="45" y="45"/>
                    <a:pt x="45" y="53"/>
                  </a:cubicBezTo>
                  <a:cubicBezTo>
                    <a:pt x="45" y="54"/>
                    <a:pt x="45" y="54"/>
                    <a:pt x="45" y="54"/>
                  </a:cubicBezTo>
                  <a:cubicBezTo>
                    <a:pt x="45" y="54"/>
                    <a:pt x="45" y="54"/>
                    <a:pt x="45" y="54"/>
                  </a:cubicBezTo>
                  <a:cubicBezTo>
                    <a:pt x="45" y="58"/>
                    <a:pt x="44" y="61"/>
                    <a:pt x="42" y="63"/>
                  </a:cubicBezTo>
                  <a:cubicBezTo>
                    <a:pt x="40" y="66"/>
                    <a:pt x="38" y="67"/>
                    <a:pt x="36" y="67"/>
                  </a:cubicBezTo>
                  <a:cubicBezTo>
                    <a:pt x="34" y="67"/>
                    <a:pt x="33" y="66"/>
                    <a:pt x="32" y="65"/>
                  </a:cubicBezTo>
                  <a:cubicBezTo>
                    <a:pt x="30" y="61"/>
                    <a:pt x="31" y="58"/>
                    <a:pt x="28" y="56"/>
                  </a:cubicBezTo>
                  <a:cubicBezTo>
                    <a:pt x="27" y="55"/>
                    <a:pt x="27" y="55"/>
                    <a:pt x="27" y="55"/>
                  </a:cubicBezTo>
                  <a:cubicBezTo>
                    <a:pt x="27" y="55"/>
                    <a:pt x="27" y="55"/>
                    <a:pt x="27" y="55"/>
                  </a:cubicBezTo>
                  <a:cubicBezTo>
                    <a:pt x="22" y="55"/>
                    <a:pt x="11" y="67"/>
                    <a:pt x="9" y="71"/>
                  </a:cubicBezTo>
                  <a:cubicBezTo>
                    <a:pt x="9" y="73"/>
                    <a:pt x="8" y="75"/>
                    <a:pt x="8" y="78"/>
                  </a:cubicBezTo>
                  <a:cubicBezTo>
                    <a:pt x="8" y="84"/>
                    <a:pt x="9" y="92"/>
                    <a:pt x="9" y="98"/>
                  </a:cubicBezTo>
                  <a:cubicBezTo>
                    <a:pt x="9" y="108"/>
                    <a:pt x="5" y="113"/>
                    <a:pt x="1" y="122"/>
                  </a:cubicBezTo>
                  <a:cubicBezTo>
                    <a:pt x="0" y="125"/>
                    <a:pt x="0" y="127"/>
                    <a:pt x="0" y="129"/>
                  </a:cubicBezTo>
                  <a:cubicBezTo>
                    <a:pt x="0" y="131"/>
                    <a:pt x="1" y="132"/>
                    <a:pt x="1" y="138"/>
                  </a:cubicBezTo>
                  <a:cubicBezTo>
                    <a:pt x="1" y="139"/>
                    <a:pt x="1" y="141"/>
                    <a:pt x="1" y="142"/>
                  </a:cubicBezTo>
                  <a:cubicBezTo>
                    <a:pt x="1" y="149"/>
                    <a:pt x="1" y="155"/>
                    <a:pt x="4" y="162"/>
                  </a:cubicBezTo>
                  <a:cubicBezTo>
                    <a:pt x="8" y="170"/>
                    <a:pt x="19" y="182"/>
                    <a:pt x="21" y="198"/>
                  </a:cubicBezTo>
                  <a:cubicBezTo>
                    <a:pt x="21" y="202"/>
                    <a:pt x="21" y="205"/>
                    <a:pt x="21" y="208"/>
                  </a:cubicBezTo>
                  <a:cubicBezTo>
                    <a:pt x="21" y="221"/>
                    <a:pt x="19" y="233"/>
                    <a:pt x="17" y="247"/>
                  </a:cubicBezTo>
                  <a:cubicBezTo>
                    <a:pt x="15" y="256"/>
                    <a:pt x="11" y="265"/>
                    <a:pt x="5" y="273"/>
                  </a:cubicBezTo>
                  <a:cubicBezTo>
                    <a:pt x="7" y="273"/>
                    <a:pt x="7" y="273"/>
                    <a:pt x="7" y="273"/>
                  </a:cubicBezTo>
                  <a:cubicBezTo>
                    <a:pt x="14" y="274"/>
                    <a:pt x="22" y="274"/>
                    <a:pt x="33" y="274"/>
                  </a:cubicBezTo>
                  <a:cubicBezTo>
                    <a:pt x="37" y="274"/>
                    <a:pt x="42" y="274"/>
                    <a:pt x="47" y="274"/>
                  </a:cubicBezTo>
                  <a:cubicBezTo>
                    <a:pt x="51" y="274"/>
                    <a:pt x="54" y="274"/>
                    <a:pt x="59" y="273"/>
                  </a:cubicBezTo>
                  <a:cubicBezTo>
                    <a:pt x="88" y="271"/>
                    <a:pt x="137" y="262"/>
                    <a:pt x="170" y="256"/>
                  </a:cubicBezTo>
                  <a:cubicBezTo>
                    <a:pt x="171" y="254"/>
                    <a:pt x="173" y="252"/>
                    <a:pt x="174" y="249"/>
                  </a:cubicBezTo>
                  <a:cubicBezTo>
                    <a:pt x="178" y="241"/>
                    <a:pt x="176" y="231"/>
                    <a:pt x="179" y="216"/>
                  </a:cubicBezTo>
                  <a:cubicBezTo>
                    <a:pt x="182" y="201"/>
                    <a:pt x="186" y="210"/>
                    <a:pt x="190" y="201"/>
                  </a:cubicBezTo>
                  <a:cubicBezTo>
                    <a:pt x="195" y="193"/>
                    <a:pt x="199" y="191"/>
                    <a:pt x="204" y="185"/>
                  </a:cubicBezTo>
                  <a:cubicBezTo>
                    <a:pt x="205" y="182"/>
                    <a:pt x="206" y="180"/>
                    <a:pt x="206" y="177"/>
                  </a:cubicBezTo>
                  <a:cubicBezTo>
                    <a:pt x="206" y="172"/>
                    <a:pt x="203" y="167"/>
                    <a:pt x="203" y="163"/>
                  </a:cubicBezTo>
                  <a:cubicBezTo>
                    <a:pt x="202" y="158"/>
                    <a:pt x="187" y="129"/>
                    <a:pt x="186" y="122"/>
                  </a:cubicBezTo>
                  <a:cubicBezTo>
                    <a:pt x="185" y="117"/>
                    <a:pt x="181" y="112"/>
                    <a:pt x="176" y="109"/>
                  </a:cubicBezTo>
                  <a:cubicBezTo>
                    <a:pt x="174" y="107"/>
                    <a:pt x="171" y="106"/>
                    <a:pt x="168" y="106"/>
                  </a:cubicBezTo>
                  <a:cubicBezTo>
                    <a:pt x="166" y="106"/>
                    <a:pt x="166" y="106"/>
                    <a:pt x="166" y="106"/>
                  </a:cubicBezTo>
                  <a:cubicBezTo>
                    <a:pt x="158" y="108"/>
                    <a:pt x="152" y="114"/>
                    <a:pt x="151" y="120"/>
                  </a:cubicBezTo>
                  <a:cubicBezTo>
                    <a:pt x="151" y="127"/>
                    <a:pt x="139" y="136"/>
                    <a:pt x="135" y="136"/>
                  </a:cubicBezTo>
                  <a:cubicBezTo>
                    <a:pt x="134" y="136"/>
                    <a:pt x="132" y="136"/>
                    <a:pt x="131" y="136"/>
                  </a:cubicBezTo>
                  <a:cubicBezTo>
                    <a:pt x="130" y="136"/>
                    <a:pt x="129" y="136"/>
                    <a:pt x="128" y="135"/>
                  </a:cubicBezTo>
                  <a:cubicBezTo>
                    <a:pt x="127" y="135"/>
                    <a:pt x="127" y="133"/>
                    <a:pt x="126" y="130"/>
                  </a:cubicBezTo>
                  <a:cubicBezTo>
                    <a:pt x="126" y="128"/>
                    <a:pt x="126" y="127"/>
                    <a:pt x="126" y="126"/>
                  </a:cubicBezTo>
                  <a:cubicBezTo>
                    <a:pt x="126" y="121"/>
                    <a:pt x="128" y="122"/>
                    <a:pt x="129" y="116"/>
                  </a:cubicBezTo>
                  <a:cubicBezTo>
                    <a:pt x="130" y="109"/>
                    <a:pt x="131" y="109"/>
                    <a:pt x="137" y="104"/>
                  </a:cubicBezTo>
                  <a:cubicBezTo>
                    <a:pt x="142" y="100"/>
                    <a:pt x="142" y="103"/>
                    <a:pt x="142" y="98"/>
                  </a:cubicBezTo>
                  <a:cubicBezTo>
                    <a:pt x="142" y="93"/>
                    <a:pt x="143" y="90"/>
                    <a:pt x="145" y="84"/>
                  </a:cubicBezTo>
                  <a:cubicBezTo>
                    <a:pt x="146" y="82"/>
                    <a:pt x="146" y="80"/>
                    <a:pt x="146" y="78"/>
                  </a:cubicBezTo>
                  <a:cubicBezTo>
                    <a:pt x="146" y="74"/>
                    <a:pt x="145" y="69"/>
                    <a:pt x="145" y="64"/>
                  </a:cubicBezTo>
                  <a:cubicBezTo>
                    <a:pt x="144" y="57"/>
                    <a:pt x="140" y="53"/>
                    <a:pt x="140" y="46"/>
                  </a:cubicBezTo>
                  <a:cubicBezTo>
                    <a:pt x="140" y="45"/>
                    <a:pt x="140" y="45"/>
                    <a:pt x="140" y="45"/>
                  </a:cubicBezTo>
                  <a:cubicBezTo>
                    <a:pt x="140" y="44"/>
                    <a:pt x="140" y="42"/>
                    <a:pt x="140" y="41"/>
                  </a:cubicBezTo>
                  <a:cubicBezTo>
                    <a:pt x="140" y="36"/>
                    <a:pt x="139" y="31"/>
                    <a:pt x="134" y="24"/>
                  </a:cubicBezTo>
                  <a:cubicBezTo>
                    <a:pt x="129" y="16"/>
                    <a:pt x="109" y="15"/>
                    <a:pt x="102" y="14"/>
                  </a:cubicBezTo>
                  <a:cubicBezTo>
                    <a:pt x="96" y="12"/>
                    <a:pt x="79" y="5"/>
                    <a:pt x="75" y="2"/>
                  </a:cubicBezTo>
                  <a:cubicBezTo>
                    <a:pt x="74" y="1"/>
                    <a:pt x="73" y="0"/>
                    <a:pt x="71"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09" name="Freeform 49">
              <a:extLst>
                <a:ext uri="{FF2B5EF4-FFF2-40B4-BE49-F238E27FC236}">
                  <a16:creationId xmlns:a16="http://schemas.microsoft.com/office/drawing/2014/main" id="{A0F414DB-469E-CC5B-A655-0057B4875C85}"/>
                </a:ext>
              </a:extLst>
            </p:cNvPr>
            <p:cNvSpPr>
              <a:spLocks/>
            </p:cNvSpPr>
            <p:nvPr/>
          </p:nvSpPr>
          <p:spPr bwMode="auto">
            <a:xfrm>
              <a:off x="5771220" y="3034019"/>
              <a:ext cx="412361" cy="748762"/>
            </a:xfrm>
            <a:custGeom>
              <a:avLst/>
              <a:gdLst>
                <a:gd name="T0" fmla="*/ 128 w 149"/>
                <a:gd name="T1" fmla="*/ 0 h 270"/>
                <a:gd name="T2" fmla="*/ 89 w 149"/>
                <a:gd name="T3" fmla="*/ 4 h 270"/>
                <a:gd name="T4" fmla="*/ 77 w 149"/>
                <a:gd name="T5" fmla="*/ 5 h 270"/>
                <a:gd name="T6" fmla="*/ 63 w 149"/>
                <a:gd name="T7" fmla="*/ 5 h 270"/>
                <a:gd name="T8" fmla="*/ 42 w 149"/>
                <a:gd name="T9" fmla="*/ 5 h 270"/>
                <a:gd name="T10" fmla="*/ 30 w 149"/>
                <a:gd name="T11" fmla="*/ 3 h 270"/>
                <a:gd name="T12" fmla="*/ 23 w 149"/>
                <a:gd name="T13" fmla="*/ 10 h 270"/>
                <a:gd name="T14" fmla="*/ 23 w 149"/>
                <a:gd name="T15" fmla="*/ 10 h 270"/>
                <a:gd name="T16" fmla="*/ 22 w 149"/>
                <a:gd name="T17" fmla="*/ 10 h 270"/>
                <a:gd name="T18" fmla="*/ 22 w 149"/>
                <a:gd name="T19" fmla="*/ 11 h 270"/>
                <a:gd name="T20" fmla="*/ 22 w 149"/>
                <a:gd name="T21" fmla="*/ 11 h 270"/>
                <a:gd name="T22" fmla="*/ 14 w 149"/>
                <a:gd name="T23" fmla="*/ 16 h 270"/>
                <a:gd name="T24" fmla="*/ 14 w 149"/>
                <a:gd name="T25" fmla="*/ 16 h 270"/>
                <a:gd name="T26" fmla="*/ 13 w 149"/>
                <a:gd name="T27" fmla="*/ 16 h 270"/>
                <a:gd name="T28" fmla="*/ 8 w 149"/>
                <a:gd name="T29" fmla="*/ 17 h 270"/>
                <a:gd name="T30" fmla="*/ 5 w 149"/>
                <a:gd name="T31" fmla="*/ 17 h 270"/>
                <a:gd name="T32" fmla="*/ 6 w 149"/>
                <a:gd name="T33" fmla="*/ 96 h 270"/>
                <a:gd name="T34" fmla="*/ 13 w 149"/>
                <a:gd name="T35" fmla="*/ 164 h 270"/>
                <a:gd name="T36" fmla="*/ 11 w 149"/>
                <a:gd name="T37" fmla="*/ 182 h 270"/>
                <a:gd name="T38" fmla="*/ 12 w 149"/>
                <a:gd name="T39" fmla="*/ 191 h 270"/>
                <a:gd name="T40" fmla="*/ 15 w 149"/>
                <a:gd name="T41" fmla="*/ 212 h 270"/>
                <a:gd name="T42" fmla="*/ 8 w 149"/>
                <a:gd name="T43" fmla="*/ 242 h 270"/>
                <a:gd name="T44" fmla="*/ 0 w 149"/>
                <a:gd name="T45" fmla="*/ 270 h 270"/>
                <a:gd name="T46" fmla="*/ 8 w 149"/>
                <a:gd name="T47" fmla="*/ 269 h 270"/>
                <a:gd name="T48" fmla="*/ 30 w 149"/>
                <a:gd name="T49" fmla="*/ 264 h 270"/>
                <a:gd name="T50" fmla="*/ 41 w 149"/>
                <a:gd name="T51" fmla="*/ 265 h 270"/>
                <a:gd name="T52" fmla="*/ 54 w 149"/>
                <a:gd name="T53" fmla="*/ 258 h 270"/>
                <a:gd name="T54" fmla="*/ 65 w 149"/>
                <a:gd name="T55" fmla="*/ 262 h 270"/>
                <a:gd name="T56" fmla="*/ 66 w 149"/>
                <a:gd name="T57" fmla="*/ 263 h 270"/>
                <a:gd name="T58" fmla="*/ 80 w 149"/>
                <a:gd name="T59" fmla="*/ 245 h 270"/>
                <a:gd name="T60" fmla="*/ 80 w 149"/>
                <a:gd name="T61" fmla="*/ 245 h 270"/>
                <a:gd name="T62" fmla="*/ 80 w 149"/>
                <a:gd name="T63" fmla="*/ 245 h 270"/>
                <a:gd name="T64" fmla="*/ 83 w 149"/>
                <a:gd name="T65" fmla="*/ 243 h 270"/>
                <a:gd name="T66" fmla="*/ 84 w 149"/>
                <a:gd name="T67" fmla="*/ 243 h 270"/>
                <a:gd name="T68" fmla="*/ 85 w 149"/>
                <a:gd name="T69" fmla="*/ 243 h 270"/>
                <a:gd name="T70" fmla="*/ 93 w 149"/>
                <a:gd name="T71" fmla="*/ 246 h 270"/>
                <a:gd name="T72" fmla="*/ 97 w 149"/>
                <a:gd name="T73" fmla="*/ 249 h 270"/>
                <a:gd name="T74" fmla="*/ 105 w 149"/>
                <a:gd name="T75" fmla="*/ 233 h 270"/>
                <a:gd name="T76" fmla="*/ 117 w 149"/>
                <a:gd name="T77" fmla="*/ 225 h 270"/>
                <a:gd name="T78" fmla="*/ 126 w 149"/>
                <a:gd name="T79" fmla="*/ 201 h 270"/>
                <a:gd name="T80" fmla="*/ 127 w 149"/>
                <a:gd name="T81" fmla="*/ 200 h 270"/>
                <a:gd name="T82" fmla="*/ 128 w 149"/>
                <a:gd name="T83" fmla="*/ 200 h 270"/>
                <a:gd name="T84" fmla="*/ 128 w 149"/>
                <a:gd name="T85" fmla="*/ 200 h 270"/>
                <a:gd name="T86" fmla="*/ 129 w 149"/>
                <a:gd name="T87" fmla="*/ 200 h 270"/>
                <a:gd name="T88" fmla="*/ 130 w 149"/>
                <a:gd name="T89" fmla="*/ 200 h 270"/>
                <a:gd name="T90" fmla="*/ 130 w 149"/>
                <a:gd name="T91" fmla="*/ 200 h 270"/>
                <a:gd name="T92" fmla="*/ 133 w 149"/>
                <a:gd name="T93" fmla="*/ 200 h 270"/>
                <a:gd name="T94" fmla="*/ 149 w 149"/>
                <a:gd name="T95" fmla="*/ 186 h 270"/>
                <a:gd name="T96" fmla="*/ 148 w 149"/>
                <a:gd name="T97" fmla="*/ 185 h 270"/>
                <a:gd name="T98" fmla="*/ 128 w 149"/>
                <a:gd name="T99"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 h="270">
                  <a:moveTo>
                    <a:pt x="128" y="0"/>
                  </a:moveTo>
                  <a:cubicBezTo>
                    <a:pt x="114" y="2"/>
                    <a:pt x="100" y="4"/>
                    <a:pt x="89" y="4"/>
                  </a:cubicBezTo>
                  <a:cubicBezTo>
                    <a:pt x="86" y="5"/>
                    <a:pt x="82" y="5"/>
                    <a:pt x="77" y="5"/>
                  </a:cubicBezTo>
                  <a:cubicBezTo>
                    <a:pt x="73" y="5"/>
                    <a:pt x="68" y="5"/>
                    <a:pt x="63" y="5"/>
                  </a:cubicBezTo>
                  <a:cubicBezTo>
                    <a:pt x="56" y="5"/>
                    <a:pt x="49" y="5"/>
                    <a:pt x="42" y="5"/>
                  </a:cubicBezTo>
                  <a:cubicBezTo>
                    <a:pt x="38" y="4"/>
                    <a:pt x="34" y="4"/>
                    <a:pt x="30" y="3"/>
                  </a:cubicBezTo>
                  <a:cubicBezTo>
                    <a:pt x="28" y="6"/>
                    <a:pt x="25" y="8"/>
                    <a:pt x="23" y="10"/>
                  </a:cubicBezTo>
                  <a:cubicBezTo>
                    <a:pt x="23" y="10"/>
                    <a:pt x="23" y="10"/>
                    <a:pt x="23" y="10"/>
                  </a:cubicBezTo>
                  <a:cubicBezTo>
                    <a:pt x="22" y="10"/>
                    <a:pt x="22" y="10"/>
                    <a:pt x="22" y="10"/>
                  </a:cubicBezTo>
                  <a:cubicBezTo>
                    <a:pt x="22" y="11"/>
                    <a:pt x="22" y="11"/>
                    <a:pt x="22" y="11"/>
                  </a:cubicBezTo>
                  <a:cubicBezTo>
                    <a:pt x="22" y="11"/>
                    <a:pt x="22" y="11"/>
                    <a:pt x="22" y="11"/>
                  </a:cubicBezTo>
                  <a:cubicBezTo>
                    <a:pt x="19" y="13"/>
                    <a:pt x="16" y="14"/>
                    <a:pt x="14" y="16"/>
                  </a:cubicBezTo>
                  <a:cubicBezTo>
                    <a:pt x="14" y="16"/>
                    <a:pt x="14" y="16"/>
                    <a:pt x="14" y="16"/>
                  </a:cubicBezTo>
                  <a:cubicBezTo>
                    <a:pt x="13" y="16"/>
                    <a:pt x="13" y="16"/>
                    <a:pt x="13" y="16"/>
                  </a:cubicBezTo>
                  <a:cubicBezTo>
                    <a:pt x="11" y="17"/>
                    <a:pt x="10" y="17"/>
                    <a:pt x="8" y="17"/>
                  </a:cubicBezTo>
                  <a:cubicBezTo>
                    <a:pt x="7" y="17"/>
                    <a:pt x="6" y="17"/>
                    <a:pt x="5" y="17"/>
                  </a:cubicBezTo>
                  <a:cubicBezTo>
                    <a:pt x="5" y="41"/>
                    <a:pt x="5" y="77"/>
                    <a:pt x="6" y="96"/>
                  </a:cubicBezTo>
                  <a:cubicBezTo>
                    <a:pt x="6" y="127"/>
                    <a:pt x="13" y="154"/>
                    <a:pt x="13" y="164"/>
                  </a:cubicBezTo>
                  <a:cubicBezTo>
                    <a:pt x="13" y="172"/>
                    <a:pt x="11" y="176"/>
                    <a:pt x="11" y="182"/>
                  </a:cubicBezTo>
                  <a:cubicBezTo>
                    <a:pt x="11" y="184"/>
                    <a:pt x="11" y="187"/>
                    <a:pt x="12" y="191"/>
                  </a:cubicBezTo>
                  <a:cubicBezTo>
                    <a:pt x="14" y="197"/>
                    <a:pt x="15" y="204"/>
                    <a:pt x="15" y="212"/>
                  </a:cubicBezTo>
                  <a:cubicBezTo>
                    <a:pt x="15" y="221"/>
                    <a:pt x="13" y="231"/>
                    <a:pt x="8" y="242"/>
                  </a:cubicBezTo>
                  <a:cubicBezTo>
                    <a:pt x="4" y="249"/>
                    <a:pt x="0" y="260"/>
                    <a:pt x="0" y="270"/>
                  </a:cubicBezTo>
                  <a:cubicBezTo>
                    <a:pt x="2" y="269"/>
                    <a:pt x="5" y="269"/>
                    <a:pt x="8" y="269"/>
                  </a:cubicBezTo>
                  <a:cubicBezTo>
                    <a:pt x="15" y="269"/>
                    <a:pt x="22" y="264"/>
                    <a:pt x="30" y="264"/>
                  </a:cubicBezTo>
                  <a:cubicBezTo>
                    <a:pt x="36" y="264"/>
                    <a:pt x="39" y="265"/>
                    <a:pt x="41" y="265"/>
                  </a:cubicBezTo>
                  <a:cubicBezTo>
                    <a:pt x="44" y="261"/>
                    <a:pt x="49" y="258"/>
                    <a:pt x="54" y="258"/>
                  </a:cubicBezTo>
                  <a:cubicBezTo>
                    <a:pt x="58" y="258"/>
                    <a:pt x="62" y="259"/>
                    <a:pt x="65" y="262"/>
                  </a:cubicBezTo>
                  <a:cubicBezTo>
                    <a:pt x="66" y="263"/>
                    <a:pt x="66" y="263"/>
                    <a:pt x="66" y="263"/>
                  </a:cubicBezTo>
                  <a:cubicBezTo>
                    <a:pt x="71" y="258"/>
                    <a:pt x="74" y="249"/>
                    <a:pt x="80" y="245"/>
                  </a:cubicBezTo>
                  <a:cubicBezTo>
                    <a:pt x="80" y="245"/>
                    <a:pt x="80" y="245"/>
                    <a:pt x="80" y="245"/>
                  </a:cubicBezTo>
                  <a:cubicBezTo>
                    <a:pt x="80" y="245"/>
                    <a:pt x="80" y="245"/>
                    <a:pt x="80" y="245"/>
                  </a:cubicBezTo>
                  <a:cubicBezTo>
                    <a:pt x="81" y="244"/>
                    <a:pt x="82" y="243"/>
                    <a:pt x="83" y="243"/>
                  </a:cubicBezTo>
                  <a:cubicBezTo>
                    <a:pt x="84" y="243"/>
                    <a:pt x="84" y="243"/>
                    <a:pt x="84" y="243"/>
                  </a:cubicBezTo>
                  <a:cubicBezTo>
                    <a:pt x="85" y="243"/>
                    <a:pt x="85" y="243"/>
                    <a:pt x="85" y="243"/>
                  </a:cubicBezTo>
                  <a:cubicBezTo>
                    <a:pt x="88" y="243"/>
                    <a:pt x="90" y="244"/>
                    <a:pt x="93" y="246"/>
                  </a:cubicBezTo>
                  <a:cubicBezTo>
                    <a:pt x="94" y="247"/>
                    <a:pt x="95" y="249"/>
                    <a:pt x="97" y="249"/>
                  </a:cubicBezTo>
                  <a:cubicBezTo>
                    <a:pt x="99" y="249"/>
                    <a:pt x="102" y="235"/>
                    <a:pt x="105" y="233"/>
                  </a:cubicBezTo>
                  <a:cubicBezTo>
                    <a:pt x="107" y="233"/>
                    <a:pt x="117" y="227"/>
                    <a:pt x="117" y="225"/>
                  </a:cubicBezTo>
                  <a:cubicBezTo>
                    <a:pt x="117" y="220"/>
                    <a:pt x="124" y="206"/>
                    <a:pt x="126" y="201"/>
                  </a:cubicBezTo>
                  <a:cubicBezTo>
                    <a:pt x="127" y="200"/>
                    <a:pt x="127" y="200"/>
                    <a:pt x="127" y="200"/>
                  </a:cubicBezTo>
                  <a:cubicBezTo>
                    <a:pt x="128" y="200"/>
                    <a:pt x="128" y="200"/>
                    <a:pt x="128" y="200"/>
                  </a:cubicBezTo>
                  <a:cubicBezTo>
                    <a:pt x="128" y="200"/>
                    <a:pt x="128" y="200"/>
                    <a:pt x="128" y="200"/>
                  </a:cubicBezTo>
                  <a:cubicBezTo>
                    <a:pt x="129" y="200"/>
                    <a:pt x="129" y="200"/>
                    <a:pt x="129" y="200"/>
                  </a:cubicBezTo>
                  <a:cubicBezTo>
                    <a:pt x="130" y="200"/>
                    <a:pt x="130" y="200"/>
                    <a:pt x="130" y="200"/>
                  </a:cubicBezTo>
                  <a:cubicBezTo>
                    <a:pt x="130" y="200"/>
                    <a:pt x="130" y="200"/>
                    <a:pt x="130" y="200"/>
                  </a:cubicBezTo>
                  <a:cubicBezTo>
                    <a:pt x="131" y="200"/>
                    <a:pt x="132" y="200"/>
                    <a:pt x="133" y="200"/>
                  </a:cubicBezTo>
                  <a:cubicBezTo>
                    <a:pt x="142" y="200"/>
                    <a:pt x="145" y="193"/>
                    <a:pt x="149" y="186"/>
                  </a:cubicBezTo>
                  <a:cubicBezTo>
                    <a:pt x="148" y="185"/>
                    <a:pt x="148" y="185"/>
                    <a:pt x="148" y="185"/>
                  </a:cubicBezTo>
                  <a:lnTo>
                    <a:pt x="128" y="0"/>
                  </a:lnTo>
                  <a:close/>
                </a:path>
              </a:pathLst>
            </a:custGeom>
            <a:solidFill>
              <a:srgbClr val="BBBB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97A8">
                    <a:lumMod val="60000"/>
                    <a:lumOff val="40000"/>
                  </a:srgbClr>
                </a:solidFill>
                <a:effectLst/>
                <a:uLnTx/>
                <a:uFillTx/>
                <a:latin typeface="Source Sans Pro" panose="020B0503030403020204" pitchFamily="34" charset="0"/>
                <a:ea typeface="+mn-ea"/>
                <a:cs typeface="+mn-cs"/>
              </a:endParaRPr>
            </a:p>
          </p:txBody>
        </p:sp>
        <p:sp>
          <p:nvSpPr>
            <p:cNvPr id="110" name="Freeform 50">
              <a:extLst>
                <a:ext uri="{FF2B5EF4-FFF2-40B4-BE49-F238E27FC236}">
                  <a16:creationId xmlns:a16="http://schemas.microsoft.com/office/drawing/2014/main" id="{6291CD79-6CE1-D36D-2479-4A6F0391910D}"/>
                </a:ext>
              </a:extLst>
            </p:cNvPr>
            <p:cNvSpPr>
              <a:spLocks/>
            </p:cNvSpPr>
            <p:nvPr/>
          </p:nvSpPr>
          <p:spPr bwMode="auto">
            <a:xfrm>
              <a:off x="5234840" y="2931704"/>
              <a:ext cx="561183" cy="1023152"/>
            </a:xfrm>
            <a:custGeom>
              <a:avLst/>
              <a:gdLst>
                <a:gd name="T0" fmla="*/ 169 w 203"/>
                <a:gd name="T1" fmla="*/ 0 h 369"/>
                <a:gd name="T2" fmla="*/ 130 w 203"/>
                <a:gd name="T3" fmla="*/ 6 h 369"/>
                <a:gd name="T4" fmla="*/ 42 w 203"/>
                <a:gd name="T5" fmla="*/ 12 h 369"/>
                <a:gd name="T6" fmla="*/ 60 w 203"/>
                <a:gd name="T7" fmla="*/ 35 h 369"/>
                <a:gd name="T8" fmla="*/ 61 w 203"/>
                <a:gd name="T9" fmla="*/ 37 h 369"/>
                <a:gd name="T10" fmla="*/ 52 w 203"/>
                <a:gd name="T11" fmla="*/ 70 h 369"/>
                <a:gd name="T12" fmla="*/ 48 w 203"/>
                <a:gd name="T13" fmla="*/ 76 h 369"/>
                <a:gd name="T14" fmla="*/ 31 w 203"/>
                <a:gd name="T15" fmla="*/ 85 h 369"/>
                <a:gd name="T16" fmla="*/ 27 w 203"/>
                <a:gd name="T17" fmla="*/ 87 h 369"/>
                <a:gd name="T18" fmla="*/ 27 w 203"/>
                <a:gd name="T19" fmla="*/ 87 h 369"/>
                <a:gd name="T20" fmla="*/ 27 w 203"/>
                <a:gd name="T21" fmla="*/ 87 h 369"/>
                <a:gd name="T22" fmla="*/ 27 w 203"/>
                <a:gd name="T23" fmla="*/ 87 h 369"/>
                <a:gd name="T24" fmla="*/ 19 w 203"/>
                <a:gd name="T25" fmla="*/ 86 h 369"/>
                <a:gd name="T26" fmla="*/ 18 w 203"/>
                <a:gd name="T27" fmla="*/ 98 h 369"/>
                <a:gd name="T28" fmla="*/ 27 w 203"/>
                <a:gd name="T29" fmla="*/ 115 h 369"/>
                <a:gd name="T30" fmla="*/ 27 w 203"/>
                <a:gd name="T31" fmla="*/ 116 h 369"/>
                <a:gd name="T32" fmla="*/ 26 w 203"/>
                <a:gd name="T33" fmla="*/ 118 h 369"/>
                <a:gd name="T34" fmla="*/ 7 w 203"/>
                <a:gd name="T35" fmla="*/ 146 h 369"/>
                <a:gd name="T36" fmla="*/ 0 w 203"/>
                <a:gd name="T37" fmla="*/ 165 h 369"/>
                <a:gd name="T38" fmla="*/ 2 w 203"/>
                <a:gd name="T39" fmla="*/ 178 h 369"/>
                <a:gd name="T40" fmla="*/ 6 w 203"/>
                <a:gd name="T41" fmla="*/ 194 h 369"/>
                <a:gd name="T42" fmla="*/ 38 w 203"/>
                <a:gd name="T43" fmla="*/ 222 h 369"/>
                <a:gd name="T44" fmla="*/ 71 w 203"/>
                <a:gd name="T45" fmla="*/ 257 h 369"/>
                <a:gd name="T46" fmla="*/ 67 w 203"/>
                <a:gd name="T47" fmla="*/ 299 h 369"/>
                <a:gd name="T48" fmla="*/ 101 w 203"/>
                <a:gd name="T49" fmla="*/ 325 h 369"/>
                <a:gd name="T50" fmla="*/ 117 w 203"/>
                <a:gd name="T51" fmla="*/ 338 h 369"/>
                <a:gd name="T52" fmla="*/ 118 w 203"/>
                <a:gd name="T53" fmla="*/ 340 h 369"/>
                <a:gd name="T54" fmla="*/ 124 w 203"/>
                <a:gd name="T55" fmla="*/ 367 h 369"/>
                <a:gd name="T56" fmla="*/ 133 w 203"/>
                <a:gd name="T57" fmla="*/ 369 h 369"/>
                <a:gd name="T58" fmla="*/ 136 w 203"/>
                <a:gd name="T59" fmla="*/ 360 h 369"/>
                <a:gd name="T60" fmla="*/ 148 w 203"/>
                <a:gd name="T61" fmla="*/ 356 h 369"/>
                <a:gd name="T62" fmla="*/ 149 w 203"/>
                <a:gd name="T63" fmla="*/ 356 h 369"/>
                <a:gd name="T64" fmla="*/ 150 w 203"/>
                <a:gd name="T65" fmla="*/ 356 h 369"/>
                <a:gd name="T66" fmla="*/ 151 w 203"/>
                <a:gd name="T67" fmla="*/ 357 h 369"/>
                <a:gd name="T68" fmla="*/ 166 w 203"/>
                <a:gd name="T69" fmla="*/ 363 h 369"/>
                <a:gd name="T70" fmla="*/ 167 w 203"/>
                <a:gd name="T71" fmla="*/ 359 h 369"/>
                <a:gd name="T72" fmla="*/ 166 w 203"/>
                <a:gd name="T73" fmla="*/ 349 h 369"/>
                <a:gd name="T74" fmla="*/ 178 w 203"/>
                <a:gd name="T75" fmla="*/ 337 h 369"/>
                <a:gd name="T76" fmla="*/ 185 w 203"/>
                <a:gd name="T77" fmla="*/ 320 h 369"/>
                <a:gd name="T78" fmla="*/ 188 w 203"/>
                <a:gd name="T79" fmla="*/ 311 h 369"/>
                <a:gd name="T80" fmla="*/ 188 w 203"/>
                <a:gd name="T81" fmla="*/ 310 h 369"/>
                <a:gd name="T82" fmla="*/ 188 w 203"/>
                <a:gd name="T83" fmla="*/ 302 h 369"/>
                <a:gd name="T84" fmla="*/ 203 w 203"/>
                <a:gd name="T85" fmla="*/ 248 h 369"/>
                <a:gd name="T86" fmla="*/ 200 w 203"/>
                <a:gd name="T87" fmla="*/ 229 h 369"/>
                <a:gd name="T88" fmla="*/ 199 w 203"/>
                <a:gd name="T89" fmla="*/ 219 h 369"/>
                <a:gd name="T90" fmla="*/ 200 w 203"/>
                <a:gd name="T91" fmla="*/ 201 h 369"/>
                <a:gd name="T92" fmla="*/ 194 w 203"/>
                <a:gd name="T93" fmla="*/ 133 h 369"/>
                <a:gd name="T94" fmla="*/ 193 w 203"/>
                <a:gd name="T95" fmla="*/ 51 h 369"/>
                <a:gd name="T96" fmla="*/ 176 w 203"/>
                <a:gd name="T97" fmla="*/ 34 h 369"/>
                <a:gd name="T98" fmla="*/ 169 w 203"/>
                <a:gd name="T99" fmla="*/ 2 h 369"/>
                <a:gd name="T100" fmla="*/ 169 w 203"/>
                <a:gd name="T10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3" h="369">
                  <a:moveTo>
                    <a:pt x="169" y="0"/>
                  </a:moveTo>
                  <a:cubicBezTo>
                    <a:pt x="159" y="2"/>
                    <a:pt x="145" y="4"/>
                    <a:pt x="130" y="6"/>
                  </a:cubicBezTo>
                  <a:cubicBezTo>
                    <a:pt x="101" y="10"/>
                    <a:pt x="57" y="11"/>
                    <a:pt x="42" y="12"/>
                  </a:cubicBezTo>
                  <a:cubicBezTo>
                    <a:pt x="60" y="35"/>
                    <a:pt x="60" y="35"/>
                    <a:pt x="60" y="35"/>
                  </a:cubicBezTo>
                  <a:cubicBezTo>
                    <a:pt x="61" y="35"/>
                    <a:pt x="61" y="36"/>
                    <a:pt x="61" y="37"/>
                  </a:cubicBezTo>
                  <a:cubicBezTo>
                    <a:pt x="61" y="44"/>
                    <a:pt x="53" y="66"/>
                    <a:pt x="52" y="70"/>
                  </a:cubicBezTo>
                  <a:cubicBezTo>
                    <a:pt x="51" y="73"/>
                    <a:pt x="50" y="75"/>
                    <a:pt x="48" y="76"/>
                  </a:cubicBezTo>
                  <a:cubicBezTo>
                    <a:pt x="45" y="77"/>
                    <a:pt x="36" y="82"/>
                    <a:pt x="31" y="85"/>
                  </a:cubicBezTo>
                  <a:cubicBezTo>
                    <a:pt x="29" y="86"/>
                    <a:pt x="28" y="87"/>
                    <a:pt x="27" y="87"/>
                  </a:cubicBezTo>
                  <a:cubicBezTo>
                    <a:pt x="27" y="87"/>
                    <a:pt x="27" y="87"/>
                    <a:pt x="27" y="87"/>
                  </a:cubicBezTo>
                  <a:cubicBezTo>
                    <a:pt x="27" y="87"/>
                    <a:pt x="27" y="87"/>
                    <a:pt x="27" y="87"/>
                  </a:cubicBezTo>
                  <a:cubicBezTo>
                    <a:pt x="27" y="87"/>
                    <a:pt x="27" y="87"/>
                    <a:pt x="27" y="87"/>
                  </a:cubicBezTo>
                  <a:cubicBezTo>
                    <a:pt x="19" y="86"/>
                    <a:pt x="19" y="86"/>
                    <a:pt x="19" y="86"/>
                  </a:cubicBezTo>
                  <a:cubicBezTo>
                    <a:pt x="18" y="98"/>
                    <a:pt x="18" y="98"/>
                    <a:pt x="18" y="98"/>
                  </a:cubicBezTo>
                  <a:cubicBezTo>
                    <a:pt x="27" y="115"/>
                    <a:pt x="27" y="115"/>
                    <a:pt x="27" y="115"/>
                  </a:cubicBezTo>
                  <a:cubicBezTo>
                    <a:pt x="27" y="116"/>
                    <a:pt x="27" y="116"/>
                    <a:pt x="27" y="116"/>
                  </a:cubicBezTo>
                  <a:cubicBezTo>
                    <a:pt x="26" y="118"/>
                    <a:pt x="26" y="118"/>
                    <a:pt x="26" y="118"/>
                  </a:cubicBezTo>
                  <a:cubicBezTo>
                    <a:pt x="26" y="118"/>
                    <a:pt x="11" y="142"/>
                    <a:pt x="7" y="146"/>
                  </a:cubicBezTo>
                  <a:cubicBezTo>
                    <a:pt x="2" y="153"/>
                    <a:pt x="0" y="158"/>
                    <a:pt x="0" y="165"/>
                  </a:cubicBezTo>
                  <a:cubicBezTo>
                    <a:pt x="0" y="169"/>
                    <a:pt x="1" y="173"/>
                    <a:pt x="2" y="178"/>
                  </a:cubicBezTo>
                  <a:cubicBezTo>
                    <a:pt x="2" y="181"/>
                    <a:pt x="3" y="192"/>
                    <a:pt x="6" y="194"/>
                  </a:cubicBezTo>
                  <a:cubicBezTo>
                    <a:pt x="10" y="199"/>
                    <a:pt x="34" y="220"/>
                    <a:pt x="38" y="222"/>
                  </a:cubicBezTo>
                  <a:cubicBezTo>
                    <a:pt x="45" y="227"/>
                    <a:pt x="71" y="247"/>
                    <a:pt x="71" y="257"/>
                  </a:cubicBezTo>
                  <a:cubicBezTo>
                    <a:pt x="71" y="265"/>
                    <a:pt x="68" y="291"/>
                    <a:pt x="67" y="299"/>
                  </a:cubicBezTo>
                  <a:cubicBezTo>
                    <a:pt x="101" y="325"/>
                    <a:pt x="101" y="325"/>
                    <a:pt x="101" y="325"/>
                  </a:cubicBezTo>
                  <a:cubicBezTo>
                    <a:pt x="117" y="338"/>
                    <a:pt x="117" y="338"/>
                    <a:pt x="117" y="338"/>
                  </a:cubicBezTo>
                  <a:cubicBezTo>
                    <a:pt x="118" y="340"/>
                    <a:pt x="118" y="340"/>
                    <a:pt x="118" y="340"/>
                  </a:cubicBezTo>
                  <a:cubicBezTo>
                    <a:pt x="124" y="367"/>
                    <a:pt x="124" y="367"/>
                    <a:pt x="124" y="367"/>
                  </a:cubicBezTo>
                  <a:cubicBezTo>
                    <a:pt x="133" y="369"/>
                    <a:pt x="133" y="369"/>
                    <a:pt x="133" y="369"/>
                  </a:cubicBezTo>
                  <a:cubicBezTo>
                    <a:pt x="133" y="365"/>
                    <a:pt x="134" y="362"/>
                    <a:pt x="136" y="360"/>
                  </a:cubicBezTo>
                  <a:cubicBezTo>
                    <a:pt x="139" y="358"/>
                    <a:pt x="144" y="356"/>
                    <a:pt x="148" y="356"/>
                  </a:cubicBezTo>
                  <a:cubicBezTo>
                    <a:pt x="149" y="356"/>
                    <a:pt x="149" y="356"/>
                    <a:pt x="149" y="356"/>
                  </a:cubicBezTo>
                  <a:cubicBezTo>
                    <a:pt x="150" y="356"/>
                    <a:pt x="150" y="356"/>
                    <a:pt x="150" y="356"/>
                  </a:cubicBezTo>
                  <a:cubicBezTo>
                    <a:pt x="151" y="357"/>
                    <a:pt x="151" y="357"/>
                    <a:pt x="151" y="357"/>
                  </a:cubicBezTo>
                  <a:cubicBezTo>
                    <a:pt x="151" y="357"/>
                    <a:pt x="161" y="360"/>
                    <a:pt x="166" y="363"/>
                  </a:cubicBezTo>
                  <a:cubicBezTo>
                    <a:pt x="166" y="361"/>
                    <a:pt x="166" y="360"/>
                    <a:pt x="167" y="359"/>
                  </a:cubicBezTo>
                  <a:cubicBezTo>
                    <a:pt x="167" y="353"/>
                    <a:pt x="166" y="351"/>
                    <a:pt x="166" y="349"/>
                  </a:cubicBezTo>
                  <a:cubicBezTo>
                    <a:pt x="166" y="346"/>
                    <a:pt x="168" y="345"/>
                    <a:pt x="178" y="337"/>
                  </a:cubicBezTo>
                  <a:cubicBezTo>
                    <a:pt x="179" y="335"/>
                    <a:pt x="185" y="327"/>
                    <a:pt x="185" y="320"/>
                  </a:cubicBezTo>
                  <a:cubicBezTo>
                    <a:pt x="185" y="316"/>
                    <a:pt x="186" y="313"/>
                    <a:pt x="188" y="311"/>
                  </a:cubicBezTo>
                  <a:cubicBezTo>
                    <a:pt x="188" y="310"/>
                    <a:pt x="188" y="310"/>
                    <a:pt x="188" y="310"/>
                  </a:cubicBezTo>
                  <a:cubicBezTo>
                    <a:pt x="188" y="308"/>
                    <a:pt x="188" y="305"/>
                    <a:pt x="188" y="302"/>
                  </a:cubicBezTo>
                  <a:cubicBezTo>
                    <a:pt x="191" y="279"/>
                    <a:pt x="203" y="269"/>
                    <a:pt x="203" y="248"/>
                  </a:cubicBezTo>
                  <a:cubicBezTo>
                    <a:pt x="203" y="243"/>
                    <a:pt x="202" y="237"/>
                    <a:pt x="200" y="229"/>
                  </a:cubicBezTo>
                  <a:cubicBezTo>
                    <a:pt x="199" y="225"/>
                    <a:pt x="199" y="222"/>
                    <a:pt x="199" y="219"/>
                  </a:cubicBezTo>
                  <a:cubicBezTo>
                    <a:pt x="199" y="213"/>
                    <a:pt x="200" y="209"/>
                    <a:pt x="200" y="201"/>
                  </a:cubicBezTo>
                  <a:cubicBezTo>
                    <a:pt x="200" y="191"/>
                    <a:pt x="194" y="164"/>
                    <a:pt x="194" y="133"/>
                  </a:cubicBezTo>
                  <a:cubicBezTo>
                    <a:pt x="193" y="114"/>
                    <a:pt x="193" y="76"/>
                    <a:pt x="193" y="51"/>
                  </a:cubicBezTo>
                  <a:cubicBezTo>
                    <a:pt x="185" y="47"/>
                    <a:pt x="179" y="38"/>
                    <a:pt x="176" y="34"/>
                  </a:cubicBezTo>
                  <a:cubicBezTo>
                    <a:pt x="170" y="27"/>
                    <a:pt x="169" y="13"/>
                    <a:pt x="169" y="2"/>
                  </a:cubicBezTo>
                  <a:lnTo>
                    <a:pt x="16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1" name="Freeform 51">
              <a:extLst>
                <a:ext uri="{FF2B5EF4-FFF2-40B4-BE49-F238E27FC236}">
                  <a16:creationId xmlns:a16="http://schemas.microsoft.com/office/drawing/2014/main" id="{75A9798B-07E8-81F6-0992-EC9C62763137}"/>
                </a:ext>
              </a:extLst>
            </p:cNvPr>
            <p:cNvSpPr>
              <a:spLocks/>
            </p:cNvSpPr>
            <p:nvPr/>
          </p:nvSpPr>
          <p:spPr bwMode="auto">
            <a:xfrm>
              <a:off x="4441122" y="1716323"/>
              <a:ext cx="914636" cy="1078960"/>
            </a:xfrm>
            <a:custGeom>
              <a:avLst/>
              <a:gdLst>
                <a:gd name="T0" fmla="*/ 87 w 331"/>
                <a:gd name="T1" fmla="*/ 1 h 389"/>
                <a:gd name="T2" fmla="*/ 85 w 331"/>
                <a:gd name="T3" fmla="*/ 11 h 389"/>
                <a:gd name="T4" fmla="*/ 85 w 331"/>
                <a:gd name="T5" fmla="*/ 24 h 389"/>
                <a:gd name="T6" fmla="*/ 85 w 331"/>
                <a:gd name="T7" fmla="*/ 25 h 389"/>
                <a:gd name="T8" fmla="*/ 85 w 331"/>
                <a:gd name="T9" fmla="*/ 25 h 389"/>
                <a:gd name="T10" fmla="*/ 85 w 331"/>
                <a:gd name="T11" fmla="*/ 25 h 389"/>
                <a:gd name="T12" fmla="*/ 85 w 331"/>
                <a:gd name="T13" fmla="*/ 25 h 389"/>
                <a:gd name="T14" fmla="*/ 85 w 331"/>
                <a:gd name="T15" fmla="*/ 26 h 389"/>
                <a:gd name="T16" fmla="*/ 85 w 331"/>
                <a:gd name="T17" fmla="*/ 26 h 389"/>
                <a:gd name="T18" fmla="*/ 15 w 331"/>
                <a:gd name="T19" fmla="*/ 26 h 389"/>
                <a:gd name="T20" fmla="*/ 2 w 331"/>
                <a:gd name="T21" fmla="*/ 85 h 389"/>
                <a:gd name="T22" fmla="*/ 14 w 331"/>
                <a:gd name="T23" fmla="*/ 120 h 389"/>
                <a:gd name="T24" fmla="*/ 28 w 331"/>
                <a:gd name="T25" fmla="*/ 221 h 389"/>
                <a:gd name="T26" fmla="*/ 29 w 331"/>
                <a:gd name="T27" fmla="*/ 235 h 389"/>
                <a:gd name="T28" fmla="*/ 17 w 331"/>
                <a:gd name="T29" fmla="*/ 253 h 389"/>
                <a:gd name="T30" fmla="*/ 30 w 331"/>
                <a:gd name="T31" fmla="*/ 272 h 389"/>
                <a:gd name="T32" fmla="*/ 280 w 331"/>
                <a:gd name="T33" fmla="*/ 380 h 389"/>
                <a:gd name="T34" fmla="*/ 241 w 331"/>
                <a:gd name="T35" fmla="*/ 331 h 389"/>
                <a:gd name="T36" fmla="*/ 205 w 331"/>
                <a:gd name="T37" fmla="*/ 305 h 389"/>
                <a:gd name="T38" fmla="*/ 203 w 331"/>
                <a:gd name="T39" fmla="*/ 272 h 389"/>
                <a:gd name="T40" fmla="*/ 202 w 331"/>
                <a:gd name="T41" fmla="*/ 253 h 389"/>
                <a:gd name="T42" fmla="*/ 213 w 331"/>
                <a:gd name="T43" fmla="*/ 215 h 389"/>
                <a:gd name="T44" fmla="*/ 220 w 331"/>
                <a:gd name="T45" fmla="*/ 178 h 389"/>
                <a:gd name="T46" fmla="*/ 221 w 331"/>
                <a:gd name="T47" fmla="*/ 176 h 389"/>
                <a:gd name="T48" fmla="*/ 229 w 331"/>
                <a:gd name="T49" fmla="*/ 169 h 389"/>
                <a:gd name="T50" fmla="*/ 229 w 331"/>
                <a:gd name="T51" fmla="*/ 168 h 389"/>
                <a:gd name="T52" fmla="*/ 285 w 331"/>
                <a:gd name="T53" fmla="*/ 107 h 389"/>
                <a:gd name="T54" fmla="*/ 331 w 331"/>
                <a:gd name="T55" fmla="*/ 78 h 389"/>
                <a:gd name="T56" fmla="*/ 313 w 331"/>
                <a:gd name="T57" fmla="*/ 74 h 389"/>
                <a:gd name="T58" fmla="*/ 298 w 331"/>
                <a:gd name="T59" fmla="*/ 74 h 389"/>
                <a:gd name="T60" fmla="*/ 278 w 331"/>
                <a:gd name="T61" fmla="*/ 67 h 389"/>
                <a:gd name="T62" fmla="*/ 276 w 331"/>
                <a:gd name="T63" fmla="*/ 67 h 389"/>
                <a:gd name="T64" fmla="*/ 253 w 331"/>
                <a:gd name="T65" fmla="*/ 80 h 389"/>
                <a:gd name="T66" fmla="*/ 232 w 331"/>
                <a:gd name="T67" fmla="*/ 66 h 389"/>
                <a:gd name="T68" fmla="*/ 225 w 331"/>
                <a:gd name="T69" fmla="*/ 63 h 389"/>
                <a:gd name="T70" fmla="*/ 215 w 331"/>
                <a:gd name="T71" fmla="*/ 68 h 389"/>
                <a:gd name="T72" fmla="*/ 180 w 331"/>
                <a:gd name="T73" fmla="*/ 45 h 389"/>
                <a:gd name="T74" fmla="*/ 171 w 331"/>
                <a:gd name="T75" fmla="*/ 47 h 389"/>
                <a:gd name="T76" fmla="*/ 157 w 331"/>
                <a:gd name="T77" fmla="*/ 54 h 389"/>
                <a:gd name="T78" fmla="*/ 141 w 331"/>
                <a:gd name="T79" fmla="*/ 47 h 389"/>
                <a:gd name="T80" fmla="*/ 129 w 331"/>
                <a:gd name="T81" fmla="*/ 45 h 389"/>
                <a:gd name="T82" fmla="*/ 125 w 331"/>
                <a:gd name="T83" fmla="*/ 45 h 389"/>
                <a:gd name="T84" fmla="*/ 120 w 331"/>
                <a:gd name="T85" fmla="*/ 45 h 389"/>
                <a:gd name="T86" fmla="*/ 107 w 331"/>
                <a:gd name="T87" fmla="*/ 31 h 389"/>
                <a:gd name="T88" fmla="*/ 107 w 331"/>
                <a:gd name="T89" fmla="*/ 26 h 389"/>
                <a:gd name="T90" fmla="*/ 92 w 331"/>
                <a:gd name="T91" fmla="*/ 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389">
                  <a:moveTo>
                    <a:pt x="90" y="0"/>
                  </a:moveTo>
                  <a:cubicBezTo>
                    <a:pt x="89" y="0"/>
                    <a:pt x="88" y="1"/>
                    <a:pt x="87" y="1"/>
                  </a:cubicBezTo>
                  <a:cubicBezTo>
                    <a:pt x="85" y="4"/>
                    <a:pt x="85" y="8"/>
                    <a:pt x="85" y="10"/>
                  </a:cubicBezTo>
                  <a:cubicBezTo>
                    <a:pt x="85" y="11"/>
                    <a:pt x="85" y="11"/>
                    <a:pt x="85" y="11"/>
                  </a:cubicBezTo>
                  <a:cubicBezTo>
                    <a:pt x="85" y="15"/>
                    <a:pt x="85" y="21"/>
                    <a:pt x="85" y="24"/>
                  </a:cubicBezTo>
                  <a:cubicBezTo>
                    <a:pt x="85" y="24"/>
                    <a:pt x="85" y="24"/>
                    <a:pt x="85" y="24"/>
                  </a:cubicBezTo>
                  <a:cubicBezTo>
                    <a:pt x="85" y="25"/>
                    <a:pt x="85" y="25"/>
                    <a:pt x="85" y="25"/>
                  </a:cubicBezTo>
                  <a:cubicBezTo>
                    <a:pt x="85" y="25"/>
                    <a:pt x="85" y="25"/>
                    <a:pt x="85" y="25"/>
                  </a:cubicBezTo>
                  <a:cubicBezTo>
                    <a:pt x="85" y="25"/>
                    <a:pt x="85" y="25"/>
                    <a:pt x="85" y="25"/>
                  </a:cubicBezTo>
                  <a:cubicBezTo>
                    <a:pt x="85" y="25"/>
                    <a:pt x="85" y="25"/>
                    <a:pt x="85" y="25"/>
                  </a:cubicBezTo>
                  <a:cubicBezTo>
                    <a:pt x="85" y="25"/>
                    <a:pt x="85" y="25"/>
                    <a:pt x="85" y="25"/>
                  </a:cubicBezTo>
                  <a:cubicBezTo>
                    <a:pt x="85" y="25"/>
                    <a:pt x="85" y="25"/>
                    <a:pt x="85" y="25"/>
                  </a:cubicBezTo>
                  <a:cubicBezTo>
                    <a:pt x="85" y="25"/>
                    <a:pt x="85" y="25"/>
                    <a:pt x="85" y="25"/>
                  </a:cubicBezTo>
                  <a:cubicBezTo>
                    <a:pt x="85" y="25"/>
                    <a:pt x="85" y="25"/>
                    <a:pt x="85" y="25"/>
                  </a:cubicBezTo>
                  <a:cubicBezTo>
                    <a:pt x="85" y="26"/>
                    <a:pt x="85" y="26"/>
                    <a:pt x="85" y="26"/>
                  </a:cubicBezTo>
                  <a:cubicBezTo>
                    <a:pt x="85" y="26"/>
                    <a:pt x="85" y="26"/>
                    <a:pt x="85" y="26"/>
                  </a:cubicBezTo>
                  <a:cubicBezTo>
                    <a:pt x="85" y="26"/>
                    <a:pt x="85" y="26"/>
                    <a:pt x="85" y="26"/>
                  </a:cubicBezTo>
                  <a:cubicBezTo>
                    <a:pt x="85" y="26"/>
                    <a:pt x="85" y="26"/>
                    <a:pt x="85" y="26"/>
                  </a:cubicBezTo>
                  <a:cubicBezTo>
                    <a:pt x="85" y="26"/>
                    <a:pt x="85" y="26"/>
                    <a:pt x="85" y="26"/>
                  </a:cubicBezTo>
                  <a:cubicBezTo>
                    <a:pt x="15" y="26"/>
                    <a:pt x="15" y="26"/>
                    <a:pt x="15" y="26"/>
                  </a:cubicBezTo>
                  <a:cubicBezTo>
                    <a:pt x="11" y="26"/>
                    <a:pt x="5" y="26"/>
                    <a:pt x="0" y="26"/>
                  </a:cubicBezTo>
                  <a:cubicBezTo>
                    <a:pt x="2" y="85"/>
                    <a:pt x="2" y="85"/>
                    <a:pt x="2" y="85"/>
                  </a:cubicBezTo>
                  <a:cubicBezTo>
                    <a:pt x="13" y="120"/>
                    <a:pt x="13" y="120"/>
                    <a:pt x="13" y="120"/>
                  </a:cubicBezTo>
                  <a:cubicBezTo>
                    <a:pt x="14" y="120"/>
                    <a:pt x="14" y="120"/>
                    <a:pt x="14" y="120"/>
                  </a:cubicBezTo>
                  <a:cubicBezTo>
                    <a:pt x="23" y="200"/>
                    <a:pt x="23" y="200"/>
                    <a:pt x="23" y="200"/>
                  </a:cubicBezTo>
                  <a:cubicBezTo>
                    <a:pt x="28" y="221"/>
                    <a:pt x="28" y="221"/>
                    <a:pt x="28" y="221"/>
                  </a:cubicBezTo>
                  <a:cubicBezTo>
                    <a:pt x="29" y="222"/>
                    <a:pt x="29" y="222"/>
                    <a:pt x="29" y="222"/>
                  </a:cubicBezTo>
                  <a:cubicBezTo>
                    <a:pt x="29" y="235"/>
                    <a:pt x="29" y="235"/>
                    <a:pt x="29" y="235"/>
                  </a:cubicBezTo>
                  <a:cubicBezTo>
                    <a:pt x="29" y="240"/>
                    <a:pt x="12" y="241"/>
                    <a:pt x="12" y="248"/>
                  </a:cubicBezTo>
                  <a:cubicBezTo>
                    <a:pt x="12" y="249"/>
                    <a:pt x="15" y="252"/>
                    <a:pt x="17" y="253"/>
                  </a:cubicBezTo>
                  <a:cubicBezTo>
                    <a:pt x="20" y="256"/>
                    <a:pt x="20" y="256"/>
                    <a:pt x="20" y="256"/>
                  </a:cubicBezTo>
                  <a:cubicBezTo>
                    <a:pt x="24" y="259"/>
                    <a:pt x="30" y="265"/>
                    <a:pt x="30" y="272"/>
                  </a:cubicBezTo>
                  <a:cubicBezTo>
                    <a:pt x="30" y="284"/>
                    <a:pt x="36" y="381"/>
                    <a:pt x="36" y="389"/>
                  </a:cubicBezTo>
                  <a:cubicBezTo>
                    <a:pt x="280" y="380"/>
                    <a:pt x="280" y="380"/>
                    <a:pt x="280" y="380"/>
                  </a:cubicBezTo>
                  <a:cubicBezTo>
                    <a:pt x="276" y="358"/>
                    <a:pt x="276" y="358"/>
                    <a:pt x="276" y="358"/>
                  </a:cubicBezTo>
                  <a:cubicBezTo>
                    <a:pt x="270" y="353"/>
                    <a:pt x="246" y="332"/>
                    <a:pt x="241" y="331"/>
                  </a:cubicBezTo>
                  <a:cubicBezTo>
                    <a:pt x="237" y="330"/>
                    <a:pt x="210" y="314"/>
                    <a:pt x="208" y="312"/>
                  </a:cubicBezTo>
                  <a:cubicBezTo>
                    <a:pt x="208" y="312"/>
                    <a:pt x="206" y="308"/>
                    <a:pt x="205" y="305"/>
                  </a:cubicBezTo>
                  <a:cubicBezTo>
                    <a:pt x="203" y="302"/>
                    <a:pt x="201" y="297"/>
                    <a:pt x="201" y="293"/>
                  </a:cubicBezTo>
                  <a:cubicBezTo>
                    <a:pt x="201" y="291"/>
                    <a:pt x="202" y="282"/>
                    <a:pt x="203" y="272"/>
                  </a:cubicBezTo>
                  <a:cubicBezTo>
                    <a:pt x="203" y="271"/>
                    <a:pt x="203" y="267"/>
                    <a:pt x="203" y="263"/>
                  </a:cubicBezTo>
                  <a:cubicBezTo>
                    <a:pt x="203" y="258"/>
                    <a:pt x="203" y="254"/>
                    <a:pt x="202" y="253"/>
                  </a:cubicBezTo>
                  <a:cubicBezTo>
                    <a:pt x="196" y="247"/>
                    <a:pt x="194" y="242"/>
                    <a:pt x="194" y="237"/>
                  </a:cubicBezTo>
                  <a:cubicBezTo>
                    <a:pt x="194" y="228"/>
                    <a:pt x="203" y="221"/>
                    <a:pt x="213" y="215"/>
                  </a:cubicBezTo>
                  <a:cubicBezTo>
                    <a:pt x="217" y="213"/>
                    <a:pt x="219" y="212"/>
                    <a:pt x="221" y="211"/>
                  </a:cubicBezTo>
                  <a:cubicBezTo>
                    <a:pt x="220" y="178"/>
                    <a:pt x="220" y="178"/>
                    <a:pt x="220" y="178"/>
                  </a:cubicBezTo>
                  <a:cubicBezTo>
                    <a:pt x="220" y="178"/>
                    <a:pt x="220" y="178"/>
                    <a:pt x="220" y="178"/>
                  </a:cubicBezTo>
                  <a:cubicBezTo>
                    <a:pt x="221" y="176"/>
                    <a:pt x="221" y="176"/>
                    <a:pt x="221" y="176"/>
                  </a:cubicBezTo>
                  <a:cubicBezTo>
                    <a:pt x="230" y="170"/>
                    <a:pt x="230" y="170"/>
                    <a:pt x="230" y="170"/>
                  </a:cubicBezTo>
                  <a:cubicBezTo>
                    <a:pt x="229" y="169"/>
                    <a:pt x="229" y="169"/>
                    <a:pt x="229" y="169"/>
                  </a:cubicBezTo>
                  <a:cubicBezTo>
                    <a:pt x="229" y="169"/>
                    <a:pt x="229" y="169"/>
                    <a:pt x="229" y="169"/>
                  </a:cubicBezTo>
                  <a:cubicBezTo>
                    <a:pt x="229" y="168"/>
                    <a:pt x="229" y="168"/>
                    <a:pt x="229" y="168"/>
                  </a:cubicBezTo>
                  <a:cubicBezTo>
                    <a:pt x="229" y="164"/>
                    <a:pt x="245" y="147"/>
                    <a:pt x="252" y="141"/>
                  </a:cubicBezTo>
                  <a:cubicBezTo>
                    <a:pt x="259" y="135"/>
                    <a:pt x="277" y="114"/>
                    <a:pt x="285" y="107"/>
                  </a:cubicBezTo>
                  <a:cubicBezTo>
                    <a:pt x="293" y="100"/>
                    <a:pt x="320" y="90"/>
                    <a:pt x="327" y="84"/>
                  </a:cubicBezTo>
                  <a:cubicBezTo>
                    <a:pt x="330" y="80"/>
                    <a:pt x="331" y="79"/>
                    <a:pt x="331" y="78"/>
                  </a:cubicBezTo>
                  <a:cubicBezTo>
                    <a:pt x="331" y="78"/>
                    <a:pt x="330" y="77"/>
                    <a:pt x="329" y="77"/>
                  </a:cubicBezTo>
                  <a:cubicBezTo>
                    <a:pt x="325" y="76"/>
                    <a:pt x="323" y="74"/>
                    <a:pt x="313" y="74"/>
                  </a:cubicBezTo>
                  <a:cubicBezTo>
                    <a:pt x="311" y="74"/>
                    <a:pt x="309" y="74"/>
                    <a:pt x="307" y="74"/>
                  </a:cubicBezTo>
                  <a:cubicBezTo>
                    <a:pt x="303" y="74"/>
                    <a:pt x="300" y="74"/>
                    <a:pt x="298" y="74"/>
                  </a:cubicBezTo>
                  <a:cubicBezTo>
                    <a:pt x="295" y="74"/>
                    <a:pt x="293" y="73"/>
                    <a:pt x="291" y="73"/>
                  </a:cubicBezTo>
                  <a:cubicBezTo>
                    <a:pt x="286" y="71"/>
                    <a:pt x="287" y="69"/>
                    <a:pt x="278" y="67"/>
                  </a:cubicBezTo>
                  <a:cubicBezTo>
                    <a:pt x="277" y="67"/>
                    <a:pt x="277" y="67"/>
                    <a:pt x="277" y="67"/>
                  </a:cubicBezTo>
                  <a:cubicBezTo>
                    <a:pt x="276" y="67"/>
                    <a:pt x="276" y="67"/>
                    <a:pt x="276" y="67"/>
                  </a:cubicBezTo>
                  <a:cubicBezTo>
                    <a:pt x="268" y="67"/>
                    <a:pt x="263" y="79"/>
                    <a:pt x="254" y="80"/>
                  </a:cubicBezTo>
                  <a:cubicBezTo>
                    <a:pt x="253" y="80"/>
                    <a:pt x="253" y="80"/>
                    <a:pt x="253" y="80"/>
                  </a:cubicBezTo>
                  <a:cubicBezTo>
                    <a:pt x="250" y="80"/>
                    <a:pt x="247" y="79"/>
                    <a:pt x="245" y="77"/>
                  </a:cubicBezTo>
                  <a:cubicBezTo>
                    <a:pt x="240" y="74"/>
                    <a:pt x="237" y="69"/>
                    <a:pt x="232" y="66"/>
                  </a:cubicBezTo>
                  <a:cubicBezTo>
                    <a:pt x="230" y="65"/>
                    <a:pt x="230" y="65"/>
                    <a:pt x="230" y="65"/>
                  </a:cubicBezTo>
                  <a:cubicBezTo>
                    <a:pt x="228" y="63"/>
                    <a:pt x="226" y="63"/>
                    <a:pt x="225" y="63"/>
                  </a:cubicBezTo>
                  <a:cubicBezTo>
                    <a:pt x="222" y="63"/>
                    <a:pt x="221" y="64"/>
                    <a:pt x="217" y="67"/>
                  </a:cubicBezTo>
                  <a:cubicBezTo>
                    <a:pt x="215" y="68"/>
                    <a:pt x="215" y="68"/>
                    <a:pt x="215" y="68"/>
                  </a:cubicBezTo>
                  <a:cubicBezTo>
                    <a:pt x="210" y="68"/>
                    <a:pt x="208" y="58"/>
                    <a:pt x="205" y="54"/>
                  </a:cubicBezTo>
                  <a:cubicBezTo>
                    <a:pt x="201" y="50"/>
                    <a:pt x="188" y="45"/>
                    <a:pt x="180" y="45"/>
                  </a:cubicBezTo>
                  <a:cubicBezTo>
                    <a:pt x="178" y="45"/>
                    <a:pt x="178" y="45"/>
                    <a:pt x="178" y="45"/>
                  </a:cubicBezTo>
                  <a:cubicBezTo>
                    <a:pt x="175" y="45"/>
                    <a:pt x="173" y="45"/>
                    <a:pt x="171" y="47"/>
                  </a:cubicBezTo>
                  <a:cubicBezTo>
                    <a:pt x="168" y="48"/>
                    <a:pt x="165" y="51"/>
                    <a:pt x="160" y="53"/>
                  </a:cubicBezTo>
                  <a:cubicBezTo>
                    <a:pt x="159" y="53"/>
                    <a:pt x="158" y="54"/>
                    <a:pt x="157" y="54"/>
                  </a:cubicBezTo>
                  <a:cubicBezTo>
                    <a:pt x="156" y="54"/>
                    <a:pt x="156" y="54"/>
                    <a:pt x="156" y="54"/>
                  </a:cubicBezTo>
                  <a:cubicBezTo>
                    <a:pt x="151" y="54"/>
                    <a:pt x="148" y="50"/>
                    <a:pt x="141" y="47"/>
                  </a:cubicBezTo>
                  <a:cubicBezTo>
                    <a:pt x="140" y="47"/>
                    <a:pt x="139" y="47"/>
                    <a:pt x="139" y="46"/>
                  </a:cubicBezTo>
                  <a:cubicBezTo>
                    <a:pt x="135" y="45"/>
                    <a:pt x="132" y="45"/>
                    <a:pt x="129" y="45"/>
                  </a:cubicBezTo>
                  <a:cubicBezTo>
                    <a:pt x="129" y="45"/>
                    <a:pt x="128" y="45"/>
                    <a:pt x="127" y="45"/>
                  </a:cubicBezTo>
                  <a:cubicBezTo>
                    <a:pt x="125" y="45"/>
                    <a:pt x="125" y="45"/>
                    <a:pt x="125" y="45"/>
                  </a:cubicBezTo>
                  <a:cubicBezTo>
                    <a:pt x="124" y="45"/>
                    <a:pt x="124" y="45"/>
                    <a:pt x="124" y="45"/>
                  </a:cubicBezTo>
                  <a:cubicBezTo>
                    <a:pt x="123" y="45"/>
                    <a:pt x="122" y="45"/>
                    <a:pt x="120" y="45"/>
                  </a:cubicBezTo>
                  <a:cubicBezTo>
                    <a:pt x="119" y="45"/>
                    <a:pt x="118" y="45"/>
                    <a:pt x="117" y="45"/>
                  </a:cubicBezTo>
                  <a:cubicBezTo>
                    <a:pt x="108" y="44"/>
                    <a:pt x="107" y="37"/>
                    <a:pt x="107" y="31"/>
                  </a:cubicBezTo>
                  <a:cubicBezTo>
                    <a:pt x="107" y="30"/>
                    <a:pt x="107" y="28"/>
                    <a:pt x="107" y="27"/>
                  </a:cubicBezTo>
                  <a:cubicBezTo>
                    <a:pt x="107" y="26"/>
                    <a:pt x="107" y="26"/>
                    <a:pt x="107" y="26"/>
                  </a:cubicBezTo>
                  <a:cubicBezTo>
                    <a:pt x="107" y="18"/>
                    <a:pt x="101" y="8"/>
                    <a:pt x="94" y="2"/>
                  </a:cubicBezTo>
                  <a:cubicBezTo>
                    <a:pt x="92" y="1"/>
                    <a:pt x="92" y="1"/>
                    <a:pt x="92" y="1"/>
                  </a:cubicBezTo>
                  <a:lnTo>
                    <a:pt x="9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2" name="Freeform 52">
              <a:extLst>
                <a:ext uri="{FF2B5EF4-FFF2-40B4-BE49-F238E27FC236}">
                  <a16:creationId xmlns:a16="http://schemas.microsoft.com/office/drawing/2014/main" id="{7F6D6B1B-F080-64F6-A174-EE84FC6D6788}"/>
                </a:ext>
              </a:extLst>
            </p:cNvPr>
            <p:cNvSpPr>
              <a:spLocks/>
            </p:cNvSpPr>
            <p:nvPr/>
          </p:nvSpPr>
          <p:spPr bwMode="auto">
            <a:xfrm>
              <a:off x="3543538" y="1759730"/>
              <a:ext cx="958042" cy="581337"/>
            </a:xfrm>
            <a:custGeom>
              <a:avLst/>
              <a:gdLst>
                <a:gd name="T0" fmla="*/ 15 w 346"/>
                <a:gd name="T1" fmla="*/ 0 h 209"/>
                <a:gd name="T2" fmla="*/ 0 w 346"/>
                <a:gd name="T3" fmla="*/ 200 h 209"/>
                <a:gd name="T4" fmla="*/ 138 w 346"/>
                <a:gd name="T5" fmla="*/ 205 h 209"/>
                <a:gd name="T6" fmla="*/ 299 w 346"/>
                <a:gd name="T7" fmla="*/ 209 h 209"/>
                <a:gd name="T8" fmla="*/ 346 w 346"/>
                <a:gd name="T9" fmla="*/ 209 h 209"/>
                <a:gd name="T10" fmla="*/ 346 w 346"/>
                <a:gd name="T11" fmla="*/ 206 h 209"/>
                <a:gd name="T12" fmla="*/ 341 w 346"/>
                <a:gd name="T13" fmla="*/ 186 h 209"/>
                <a:gd name="T14" fmla="*/ 332 w 346"/>
                <a:gd name="T15" fmla="*/ 105 h 209"/>
                <a:gd name="T16" fmla="*/ 320 w 346"/>
                <a:gd name="T17" fmla="*/ 71 h 209"/>
                <a:gd name="T18" fmla="*/ 319 w 346"/>
                <a:gd name="T19" fmla="*/ 70 h 209"/>
                <a:gd name="T20" fmla="*/ 317 w 346"/>
                <a:gd name="T21" fmla="*/ 10 h 209"/>
                <a:gd name="T22" fmla="*/ 181 w 346"/>
                <a:gd name="T23" fmla="*/ 5 h 209"/>
                <a:gd name="T24" fmla="*/ 24 w 346"/>
                <a:gd name="T25" fmla="*/ 0 h 209"/>
                <a:gd name="T26" fmla="*/ 15 w 346"/>
                <a:gd name="T2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6" h="209">
                  <a:moveTo>
                    <a:pt x="15" y="0"/>
                  </a:moveTo>
                  <a:cubicBezTo>
                    <a:pt x="0" y="200"/>
                    <a:pt x="0" y="200"/>
                    <a:pt x="0" y="200"/>
                  </a:cubicBezTo>
                  <a:cubicBezTo>
                    <a:pt x="13" y="200"/>
                    <a:pt x="91" y="204"/>
                    <a:pt x="138" y="205"/>
                  </a:cubicBezTo>
                  <a:cubicBezTo>
                    <a:pt x="191" y="206"/>
                    <a:pt x="299" y="209"/>
                    <a:pt x="299" y="209"/>
                  </a:cubicBezTo>
                  <a:cubicBezTo>
                    <a:pt x="346" y="209"/>
                    <a:pt x="346" y="209"/>
                    <a:pt x="346" y="209"/>
                  </a:cubicBezTo>
                  <a:cubicBezTo>
                    <a:pt x="346" y="206"/>
                    <a:pt x="346" y="206"/>
                    <a:pt x="346" y="206"/>
                  </a:cubicBezTo>
                  <a:cubicBezTo>
                    <a:pt x="341" y="186"/>
                    <a:pt x="341" y="186"/>
                    <a:pt x="341" y="186"/>
                  </a:cubicBezTo>
                  <a:cubicBezTo>
                    <a:pt x="332" y="105"/>
                    <a:pt x="332" y="105"/>
                    <a:pt x="332" y="105"/>
                  </a:cubicBezTo>
                  <a:cubicBezTo>
                    <a:pt x="320" y="71"/>
                    <a:pt x="320" y="71"/>
                    <a:pt x="320" y="71"/>
                  </a:cubicBezTo>
                  <a:cubicBezTo>
                    <a:pt x="319" y="70"/>
                    <a:pt x="319" y="70"/>
                    <a:pt x="319" y="70"/>
                  </a:cubicBezTo>
                  <a:cubicBezTo>
                    <a:pt x="317" y="10"/>
                    <a:pt x="317" y="10"/>
                    <a:pt x="317" y="10"/>
                  </a:cubicBezTo>
                  <a:cubicBezTo>
                    <a:pt x="285" y="9"/>
                    <a:pt x="234" y="7"/>
                    <a:pt x="181" y="5"/>
                  </a:cubicBezTo>
                  <a:cubicBezTo>
                    <a:pt x="125" y="4"/>
                    <a:pt x="67" y="1"/>
                    <a:pt x="24" y="0"/>
                  </a:cubicBezTo>
                  <a:cubicBezTo>
                    <a:pt x="21" y="0"/>
                    <a:pt x="18" y="0"/>
                    <a:pt x="15"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sp>
          <p:nvSpPr>
            <p:cNvPr id="113" name="Freeform 53">
              <a:extLst>
                <a:ext uri="{FF2B5EF4-FFF2-40B4-BE49-F238E27FC236}">
                  <a16:creationId xmlns:a16="http://schemas.microsoft.com/office/drawing/2014/main" id="{509EF474-9548-B9ED-B734-8FC82A6F1E19}"/>
                </a:ext>
              </a:extLst>
            </p:cNvPr>
            <p:cNvSpPr>
              <a:spLocks/>
            </p:cNvSpPr>
            <p:nvPr/>
          </p:nvSpPr>
          <p:spPr bwMode="auto">
            <a:xfrm>
              <a:off x="4994554" y="2124033"/>
              <a:ext cx="762713" cy="824723"/>
            </a:xfrm>
            <a:custGeom>
              <a:avLst/>
              <a:gdLst>
                <a:gd name="T0" fmla="*/ 273 w 276"/>
                <a:gd name="T1" fmla="*/ 100 h 297"/>
                <a:gd name="T2" fmla="*/ 273 w 276"/>
                <a:gd name="T3" fmla="*/ 101 h 297"/>
                <a:gd name="T4" fmla="*/ 272 w 276"/>
                <a:gd name="T5" fmla="*/ 101 h 297"/>
                <a:gd name="T6" fmla="*/ 255 w 276"/>
                <a:gd name="T7" fmla="*/ 128 h 297"/>
                <a:gd name="T8" fmla="*/ 236 w 276"/>
                <a:gd name="T9" fmla="*/ 152 h 297"/>
                <a:gd name="T10" fmla="*/ 235 w 276"/>
                <a:gd name="T11" fmla="*/ 144 h 297"/>
                <a:gd name="T12" fmla="*/ 235 w 276"/>
                <a:gd name="T13" fmla="*/ 138 h 297"/>
                <a:gd name="T14" fmla="*/ 240 w 276"/>
                <a:gd name="T15" fmla="*/ 129 h 297"/>
                <a:gd name="T16" fmla="*/ 209 w 276"/>
                <a:gd name="T17" fmla="*/ 99 h 297"/>
                <a:gd name="T18" fmla="*/ 135 w 276"/>
                <a:gd name="T19" fmla="*/ 73 h 297"/>
                <a:gd name="T20" fmla="*/ 113 w 276"/>
                <a:gd name="T21" fmla="*/ 52 h 297"/>
                <a:gd name="T22" fmla="*/ 103 w 276"/>
                <a:gd name="T23" fmla="*/ 25 h 297"/>
                <a:gd name="T24" fmla="*/ 90 w 276"/>
                <a:gd name="T25" fmla="*/ 26 h 297"/>
                <a:gd name="T26" fmla="*/ 90 w 276"/>
                <a:gd name="T27" fmla="*/ 26 h 297"/>
                <a:gd name="T28" fmla="*/ 89 w 276"/>
                <a:gd name="T29" fmla="*/ 26 h 297"/>
                <a:gd name="T30" fmla="*/ 87 w 276"/>
                <a:gd name="T31" fmla="*/ 21 h 297"/>
                <a:gd name="T32" fmla="*/ 87 w 276"/>
                <a:gd name="T33" fmla="*/ 10 h 297"/>
                <a:gd name="T34" fmla="*/ 86 w 276"/>
                <a:gd name="T35" fmla="*/ 2 h 297"/>
                <a:gd name="T36" fmla="*/ 85 w 276"/>
                <a:gd name="T37" fmla="*/ 0 h 297"/>
                <a:gd name="T38" fmla="*/ 83 w 276"/>
                <a:gd name="T39" fmla="*/ 0 h 297"/>
                <a:gd name="T40" fmla="*/ 51 w 276"/>
                <a:gd name="T41" fmla="*/ 22 h 297"/>
                <a:gd name="T42" fmla="*/ 44 w 276"/>
                <a:gd name="T43" fmla="*/ 24 h 297"/>
                <a:gd name="T44" fmla="*/ 44 w 276"/>
                <a:gd name="T45" fmla="*/ 24 h 297"/>
                <a:gd name="T46" fmla="*/ 43 w 276"/>
                <a:gd name="T47" fmla="*/ 24 h 297"/>
                <a:gd name="T48" fmla="*/ 39 w 276"/>
                <a:gd name="T49" fmla="*/ 24 h 297"/>
                <a:gd name="T50" fmla="*/ 38 w 276"/>
                <a:gd name="T51" fmla="*/ 24 h 297"/>
                <a:gd name="T52" fmla="*/ 26 w 276"/>
                <a:gd name="T53" fmla="*/ 32 h 297"/>
                <a:gd name="T54" fmla="*/ 27 w 276"/>
                <a:gd name="T55" fmla="*/ 65 h 297"/>
                <a:gd name="T56" fmla="*/ 26 w 276"/>
                <a:gd name="T57" fmla="*/ 68 h 297"/>
                <a:gd name="T58" fmla="*/ 3 w 276"/>
                <a:gd name="T59" fmla="*/ 84 h 297"/>
                <a:gd name="T60" fmla="*/ 0 w 276"/>
                <a:gd name="T61" fmla="*/ 90 h 297"/>
                <a:gd name="T62" fmla="*/ 8 w 276"/>
                <a:gd name="T63" fmla="*/ 105 h 297"/>
                <a:gd name="T64" fmla="*/ 9 w 276"/>
                <a:gd name="T65" fmla="*/ 116 h 297"/>
                <a:gd name="T66" fmla="*/ 7 w 276"/>
                <a:gd name="T67" fmla="*/ 146 h 297"/>
                <a:gd name="T68" fmla="*/ 13 w 276"/>
                <a:gd name="T69" fmla="*/ 160 h 297"/>
                <a:gd name="T70" fmla="*/ 42 w 276"/>
                <a:gd name="T71" fmla="*/ 177 h 297"/>
                <a:gd name="T72" fmla="*/ 82 w 276"/>
                <a:gd name="T73" fmla="*/ 208 h 297"/>
                <a:gd name="T74" fmla="*/ 87 w 276"/>
                <a:gd name="T75" fmla="*/ 240 h 297"/>
                <a:gd name="T76" fmla="*/ 95 w 276"/>
                <a:gd name="T77" fmla="*/ 272 h 297"/>
                <a:gd name="T78" fmla="*/ 103 w 276"/>
                <a:gd name="T79" fmla="*/ 288 h 297"/>
                <a:gd name="T80" fmla="*/ 115 w 276"/>
                <a:gd name="T81" fmla="*/ 288 h 297"/>
                <a:gd name="T82" fmla="*/ 117 w 276"/>
                <a:gd name="T83" fmla="*/ 289 h 297"/>
                <a:gd name="T84" fmla="*/ 123 w 276"/>
                <a:gd name="T85" fmla="*/ 297 h 297"/>
                <a:gd name="T86" fmla="*/ 216 w 276"/>
                <a:gd name="T87" fmla="*/ 291 h 297"/>
                <a:gd name="T88" fmla="*/ 255 w 276"/>
                <a:gd name="T89" fmla="*/ 285 h 297"/>
                <a:gd name="T90" fmla="*/ 253 w 276"/>
                <a:gd name="T91" fmla="*/ 271 h 297"/>
                <a:gd name="T92" fmla="*/ 253 w 276"/>
                <a:gd name="T93" fmla="*/ 270 h 297"/>
                <a:gd name="T94" fmla="*/ 252 w 276"/>
                <a:gd name="T95" fmla="*/ 270 h 297"/>
                <a:gd name="T96" fmla="*/ 246 w 276"/>
                <a:gd name="T97" fmla="*/ 254 h 297"/>
                <a:gd name="T98" fmla="*/ 244 w 276"/>
                <a:gd name="T99" fmla="*/ 242 h 297"/>
                <a:gd name="T100" fmla="*/ 253 w 276"/>
                <a:gd name="T101" fmla="*/ 213 h 297"/>
                <a:gd name="T102" fmla="*/ 253 w 276"/>
                <a:gd name="T103" fmla="*/ 203 h 297"/>
                <a:gd name="T104" fmla="*/ 253 w 276"/>
                <a:gd name="T105" fmla="*/ 195 h 297"/>
                <a:gd name="T106" fmla="*/ 254 w 276"/>
                <a:gd name="T107" fmla="*/ 185 h 297"/>
                <a:gd name="T108" fmla="*/ 257 w 276"/>
                <a:gd name="T109" fmla="*/ 157 h 297"/>
                <a:gd name="T110" fmla="*/ 274 w 276"/>
                <a:gd name="T111" fmla="*/ 116 h 297"/>
                <a:gd name="T112" fmla="*/ 276 w 276"/>
                <a:gd name="T113" fmla="*/ 106 h 297"/>
                <a:gd name="T114" fmla="*/ 276 w 276"/>
                <a:gd name="T115" fmla="*/ 106 h 297"/>
                <a:gd name="T116" fmla="*/ 273 w 276"/>
                <a:gd name="T117" fmla="*/ 10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6" h="297">
                  <a:moveTo>
                    <a:pt x="273" y="100"/>
                  </a:moveTo>
                  <a:cubicBezTo>
                    <a:pt x="273" y="101"/>
                    <a:pt x="273" y="101"/>
                    <a:pt x="273" y="101"/>
                  </a:cubicBezTo>
                  <a:cubicBezTo>
                    <a:pt x="272" y="101"/>
                    <a:pt x="272" y="101"/>
                    <a:pt x="272" y="101"/>
                  </a:cubicBezTo>
                  <a:cubicBezTo>
                    <a:pt x="269" y="103"/>
                    <a:pt x="260" y="120"/>
                    <a:pt x="255" y="128"/>
                  </a:cubicBezTo>
                  <a:cubicBezTo>
                    <a:pt x="251" y="137"/>
                    <a:pt x="236" y="152"/>
                    <a:pt x="236" y="152"/>
                  </a:cubicBezTo>
                  <a:cubicBezTo>
                    <a:pt x="236" y="152"/>
                    <a:pt x="235" y="149"/>
                    <a:pt x="235" y="144"/>
                  </a:cubicBezTo>
                  <a:cubicBezTo>
                    <a:pt x="235" y="142"/>
                    <a:pt x="235" y="140"/>
                    <a:pt x="235" y="138"/>
                  </a:cubicBezTo>
                  <a:cubicBezTo>
                    <a:pt x="236" y="133"/>
                    <a:pt x="238" y="130"/>
                    <a:pt x="240" y="129"/>
                  </a:cubicBezTo>
                  <a:cubicBezTo>
                    <a:pt x="237" y="122"/>
                    <a:pt x="228" y="108"/>
                    <a:pt x="209" y="99"/>
                  </a:cubicBezTo>
                  <a:cubicBezTo>
                    <a:pt x="180" y="84"/>
                    <a:pt x="156" y="78"/>
                    <a:pt x="135" y="73"/>
                  </a:cubicBezTo>
                  <a:cubicBezTo>
                    <a:pt x="127" y="71"/>
                    <a:pt x="119" y="64"/>
                    <a:pt x="113" y="52"/>
                  </a:cubicBezTo>
                  <a:cubicBezTo>
                    <a:pt x="108" y="44"/>
                    <a:pt x="105" y="34"/>
                    <a:pt x="103" y="25"/>
                  </a:cubicBezTo>
                  <a:cubicBezTo>
                    <a:pt x="98" y="26"/>
                    <a:pt x="93" y="26"/>
                    <a:pt x="90" y="26"/>
                  </a:cubicBezTo>
                  <a:cubicBezTo>
                    <a:pt x="90" y="26"/>
                    <a:pt x="90" y="26"/>
                    <a:pt x="90" y="26"/>
                  </a:cubicBezTo>
                  <a:cubicBezTo>
                    <a:pt x="89" y="26"/>
                    <a:pt x="89" y="26"/>
                    <a:pt x="89" y="26"/>
                  </a:cubicBezTo>
                  <a:cubicBezTo>
                    <a:pt x="87" y="26"/>
                    <a:pt x="87" y="24"/>
                    <a:pt x="87" y="21"/>
                  </a:cubicBezTo>
                  <a:cubicBezTo>
                    <a:pt x="87" y="18"/>
                    <a:pt x="87" y="14"/>
                    <a:pt x="87" y="10"/>
                  </a:cubicBezTo>
                  <a:cubicBezTo>
                    <a:pt x="87" y="7"/>
                    <a:pt x="87" y="5"/>
                    <a:pt x="86" y="2"/>
                  </a:cubicBezTo>
                  <a:cubicBezTo>
                    <a:pt x="86" y="1"/>
                    <a:pt x="85" y="1"/>
                    <a:pt x="85" y="0"/>
                  </a:cubicBezTo>
                  <a:cubicBezTo>
                    <a:pt x="83" y="0"/>
                    <a:pt x="83" y="0"/>
                    <a:pt x="83" y="0"/>
                  </a:cubicBezTo>
                  <a:cubicBezTo>
                    <a:pt x="75" y="0"/>
                    <a:pt x="57" y="18"/>
                    <a:pt x="51" y="22"/>
                  </a:cubicBezTo>
                  <a:cubicBezTo>
                    <a:pt x="49" y="23"/>
                    <a:pt x="46" y="24"/>
                    <a:pt x="44" y="24"/>
                  </a:cubicBezTo>
                  <a:cubicBezTo>
                    <a:pt x="44" y="24"/>
                    <a:pt x="44" y="24"/>
                    <a:pt x="44" y="24"/>
                  </a:cubicBezTo>
                  <a:cubicBezTo>
                    <a:pt x="43" y="24"/>
                    <a:pt x="43" y="24"/>
                    <a:pt x="43" y="24"/>
                  </a:cubicBezTo>
                  <a:cubicBezTo>
                    <a:pt x="42" y="24"/>
                    <a:pt x="40" y="24"/>
                    <a:pt x="39" y="24"/>
                  </a:cubicBezTo>
                  <a:cubicBezTo>
                    <a:pt x="38" y="24"/>
                    <a:pt x="38" y="24"/>
                    <a:pt x="38" y="24"/>
                  </a:cubicBezTo>
                  <a:cubicBezTo>
                    <a:pt x="26" y="32"/>
                    <a:pt x="26" y="32"/>
                    <a:pt x="26" y="32"/>
                  </a:cubicBezTo>
                  <a:cubicBezTo>
                    <a:pt x="27" y="65"/>
                    <a:pt x="27" y="65"/>
                    <a:pt x="27" y="65"/>
                  </a:cubicBezTo>
                  <a:cubicBezTo>
                    <a:pt x="26" y="68"/>
                    <a:pt x="26" y="68"/>
                    <a:pt x="26" y="68"/>
                  </a:cubicBezTo>
                  <a:cubicBezTo>
                    <a:pt x="25" y="68"/>
                    <a:pt x="10" y="75"/>
                    <a:pt x="3" y="84"/>
                  </a:cubicBezTo>
                  <a:cubicBezTo>
                    <a:pt x="1" y="86"/>
                    <a:pt x="0" y="88"/>
                    <a:pt x="0" y="90"/>
                  </a:cubicBezTo>
                  <a:cubicBezTo>
                    <a:pt x="0" y="96"/>
                    <a:pt x="7" y="99"/>
                    <a:pt x="8" y="105"/>
                  </a:cubicBezTo>
                  <a:cubicBezTo>
                    <a:pt x="9" y="109"/>
                    <a:pt x="9" y="112"/>
                    <a:pt x="9" y="116"/>
                  </a:cubicBezTo>
                  <a:cubicBezTo>
                    <a:pt x="9" y="126"/>
                    <a:pt x="7" y="136"/>
                    <a:pt x="7" y="146"/>
                  </a:cubicBezTo>
                  <a:cubicBezTo>
                    <a:pt x="7" y="148"/>
                    <a:pt x="12" y="158"/>
                    <a:pt x="13" y="160"/>
                  </a:cubicBezTo>
                  <a:cubicBezTo>
                    <a:pt x="17" y="163"/>
                    <a:pt x="37" y="176"/>
                    <a:pt x="42" y="177"/>
                  </a:cubicBezTo>
                  <a:cubicBezTo>
                    <a:pt x="47" y="178"/>
                    <a:pt x="81" y="205"/>
                    <a:pt x="82" y="208"/>
                  </a:cubicBezTo>
                  <a:cubicBezTo>
                    <a:pt x="87" y="240"/>
                    <a:pt x="87" y="240"/>
                    <a:pt x="87" y="240"/>
                  </a:cubicBezTo>
                  <a:cubicBezTo>
                    <a:pt x="95" y="272"/>
                    <a:pt x="95" y="272"/>
                    <a:pt x="95" y="272"/>
                  </a:cubicBezTo>
                  <a:cubicBezTo>
                    <a:pt x="103" y="288"/>
                    <a:pt x="103" y="288"/>
                    <a:pt x="103" y="288"/>
                  </a:cubicBezTo>
                  <a:cubicBezTo>
                    <a:pt x="115" y="288"/>
                    <a:pt x="115" y="288"/>
                    <a:pt x="115" y="288"/>
                  </a:cubicBezTo>
                  <a:cubicBezTo>
                    <a:pt x="117" y="289"/>
                    <a:pt x="117" y="289"/>
                    <a:pt x="117" y="289"/>
                  </a:cubicBezTo>
                  <a:cubicBezTo>
                    <a:pt x="123" y="297"/>
                    <a:pt x="123" y="297"/>
                    <a:pt x="123" y="297"/>
                  </a:cubicBezTo>
                  <a:cubicBezTo>
                    <a:pt x="132" y="296"/>
                    <a:pt x="183" y="295"/>
                    <a:pt x="216" y="291"/>
                  </a:cubicBezTo>
                  <a:cubicBezTo>
                    <a:pt x="232" y="289"/>
                    <a:pt x="245" y="287"/>
                    <a:pt x="255" y="285"/>
                  </a:cubicBezTo>
                  <a:cubicBezTo>
                    <a:pt x="255" y="280"/>
                    <a:pt x="254" y="276"/>
                    <a:pt x="253" y="271"/>
                  </a:cubicBezTo>
                  <a:cubicBezTo>
                    <a:pt x="253" y="270"/>
                    <a:pt x="253" y="270"/>
                    <a:pt x="253" y="270"/>
                  </a:cubicBezTo>
                  <a:cubicBezTo>
                    <a:pt x="252" y="270"/>
                    <a:pt x="252" y="270"/>
                    <a:pt x="252" y="270"/>
                  </a:cubicBezTo>
                  <a:cubicBezTo>
                    <a:pt x="251" y="265"/>
                    <a:pt x="249" y="260"/>
                    <a:pt x="246" y="254"/>
                  </a:cubicBezTo>
                  <a:cubicBezTo>
                    <a:pt x="245" y="250"/>
                    <a:pt x="244" y="246"/>
                    <a:pt x="244" y="242"/>
                  </a:cubicBezTo>
                  <a:cubicBezTo>
                    <a:pt x="244" y="231"/>
                    <a:pt x="251" y="220"/>
                    <a:pt x="253" y="213"/>
                  </a:cubicBezTo>
                  <a:cubicBezTo>
                    <a:pt x="253" y="209"/>
                    <a:pt x="253" y="206"/>
                    <a:pt x="253" y="203"/>
                  </a:cubicBezTo>
                  <a:cubicBezTo>
                    <a:pt x="253" y="200"/>
                    <a:pt x="253" y="197"/>
                    <a:pt x="253" y="195"/>
                  </a:cubicBezTo>
                  <a:cubicBezTo>
                    <a:pt x="253" y="192"/>
                    <a:pt x="253" y="189"/>
                    <a:pt x="254" y="185"/>
                  </a:cubicBezTo>
                  <a:cubicBezTo>
                    <a:pt x="256" y="176"/>
                    <a:pt x="257" y="165"/>
                    <a:pt x="257" y="157"/>
                  </a:cubicBezTo>
                  <a:cubicBezTo>
                    <a:pt x="257" y="148"/>
                    <a:pt x="269" y="125"/>
                    <a:pt x="274" y="116"/>
                  </a:cubicBezTo>
                  <a:cubicBezTo>
                    <a:pt x="275" y="112"/>
                    <a:pt x="276" y="109"/>
                    <a:pt x="276" y="106"/>
                  </a:cubicBezTo>
                  <a:cubicBezTo>
                    <a:pt x="276" y="106"/>
                    <a:pt x="276" y="106"/>
                    <a:pt x="276" y="106"/>
                  </a:cubicBezTo>
                  <a:cubicBezTo>
                    <a:pt x="276" y="102"/>
                    <a:pt x="275" y="100"/>
                    <a:pt x="273" y="10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4" name="Freeform 54">
              <a:extLst>
                <a:ext uri="{FF2B5EF4-FFF2-40B4-BE49-F238E27FC236}">
                  <a16:creationId xmlns:a16="http://schemas.microsoft.com/office/drawing/2014/main" id="{71560093-D5C0-4426-9E65-4F12F8E86787}"/>
                </a:ext>
              </a:extLst>
            </p:cNvPr>
            <p:cNvSpPr>
              <a:spLocks/>
            </p:cNvSpPr>
            <p:nvPr/>
          </p:nvSpPr>
          <p:spPr bwMode="auto">
            <a:xfrm>
              <a:off x="5298399" y="1998465"/>
              <a:ext cx="863478" cy="472821"/>
            </a:xfrm>
            <a:custGeom>
              <a:avLst/>
              <a:gdLst>
                <a:gd name="T0" fmla="*/ 294 w 312"/>
                <a:gd name="T1" fmla="*/ 56 h 170"/>
                <a:gd name="T2" fmla="*/ 277 w 312"/>
                <a:gd name="T3" fmla="*/ 55 h 170"/>
                <a:gd name="T4" fmla="*/ 249 w 312"/>
                <a:gd name="T5" fmla="*/ 51 h 170"/>
                <a:gd name="T6" fmla="*/ 227 w 312"/>
                <a:gd name="T7" fmla="*/ 43 h 170"/>
                <a:gd name="T8" fmla="*/ 214 w 312"/>
                <a:gd name="T9" fmla="*/ 45 h 170"/>
                <a:gd name="T10" fmla="*/ 211 w 312"/>
                <a:gd name="T11" fmla="*/ 45 h 170"/>
                <a:gd name="T12" fmla="*/ 209 w 312"/>
                <a:gd name="T13" fmla="*/ 45 h 170"/>
                <a:gd name="T14" fmla="*/ 200 w 312"/>
                <a:gd name="T15" fmla="*/ 46 h 170"/>
                <a:gd name="T16" fmla="*/ 167 w 312"/>
                <a:gd name="T17" fmla="*/ 64 h 170"/>
                <a:gd name="T18" fmla="*/ 167 w 312"/>
                <a:gd name="T19" fmla="*/ 64 h 170"/>
                <a:gd name="T20" fmla="*/ 166 w 312"/>
                <a:gd name="T21" fmla="*/ 64 h 170"/>
                <a:gd name="T22" fmla="*/ 165 w 312"/>
                <a:gd name="T23" fmla="*/ 64 h 170"/>
                <a:gd name="T24" fmla="*/ 165 w 312"/>
                <a:gd name="T25" fmla="*/ 64 h 170"/>
                <a:gd name="T26" fmla="*/ 165 w 312"/>
                <a:gd name="T27" fmla="*/ 64 h 170"/>
                <a:gd name="T28" fmla="*/ 163 w 312"/>
                <a:gd name="T29" fmla="*/ 63 h 170"/>
                <a:gd name="T30" fmla="*/ 163 w 312"/>
                <a:gd name="T31" fmla="*/ 63 h 170"/>
                <a:gd name="T32" fmla="*/ 158 w 312"/>
                <a:gd name="T33" fmla="*/ 61 h 170"/>
                <a:gd name="T34" fmla="*/ 154 w 312"/>
                <a:gd name="T35" fmla="*/ 61 h 170"/>
                <a:gd name="T36" fmla="*/ 140 w 312"/>
                <a:gd name="T37" fmla="*/ 58 h 170"/>
                <a:gd name="T38" fmla="*/ 108 w 312"/>
                <a:gd name="T39" fmla="*/ 38 h 170"/>
                <a:gd name="T40" fmla="*/ 97 w 312"/>
                <a:gd name="T41" fmla="*/ 42 h 170"/>
                <a:gd name="T42" fmla="*/ 90 w 312"/>
                <a:gd name="T43" fmla="*/ 47 h 170"/>
                <a:gd name="T44" fmla="*/ 88 w 312"/>
                <a:gd name="T45" fmla="*/ 44 h 170"/>
                <a:gd name="T46" fmla="*/ 115 w 312"/>
                <a:gd name="T47" fmla="*/ 2 h 170"/>
                <a:gd name="T48" fmla="*/ 110 w 312"/>
                <a:gd name="T49" fmla="*/ 0 h 170"/>
                <a:gd name="T50" fmla="*/ 86 w 312"/>
                <a:gd name="T51" fmla="*/ 7 h 170"/>
                <a:gd name="T52" fmla="*/ 18 w 312"/>
                <a:gd name="T53" fmla="*/ 62 h 170"/>
                <a:gd name="T54" fmla="*/ 9 w 312"/>
                <a:gd name="T55" fmla="*/ 94 h 170"/>
                <a:gd name="T56" fmla="*/ 102 w 312"/>
                <a:gd name="T57" fmla="*/ 137 h 170"/>
                <a:gd name="T58" fmla="*/ 138 w 312"/>
                <a:gd name="T59" fmla="*/ 168 h 170"/>
                <a:gd name="T60" fmla="*/ 165 w 312"/>
                <a:gd name="T61" fmla="*/ 105 h 170"/>
                <a:gd name="T62" fmla="*/ 170 w 312"/>
                <a:gd name="T63" fmla="*/ 114 h 170"/>
                <a:gd name="T64" fmla="*/ 181 w 312"/>
                <a:gd name="T65" fmla="*/ 104 h 170"/>
                <a:gd name="T66" fmla="*/ 182 w 312"/>
                <a:gd name="T67" fmla="*/ 104 h 170"/>
                <a:gd name="T68" fmla="*/ 182 w 312"/>
                <a:gd name="T69" fmla="*/ 106 h 170"/>
                <a:gd name="T70" fmla="*/ 181 w 312"/>
                <a:gd name="T71" fmla="*/ 117 h 170"/>
                <a:gd name="T72" fmla="*/ 198 w 312"/>
                <a:gd name="T73" fmla="*/ 95 h 170"/>
                <a:gd name="T74" fmla="*/ 198 w 312"/>
                <a:gd name="T75" fmla="*/ 95 h 170"/>
                <a:gd name="T76" fmla="*/ 199 w 312"/>
                <a:gd name="T77" fmla="*/ 95 h 170"/>
                <a:gd name="T78" fmla="*/ 199 w 312"/>
                <a:gd name="T79" fmla="*/ 94 h 170"/>
                <a:gd name="T80" fmla="*/ 200 w 312"/>
                <a:gd name="T81" fmla="*/ 94 h 170"/>
                <a:gd name="T82" fmla="*/ 200 w 312"/>
                <a:gd name="T83" fmla="*/ 94 h 170"/>
                <a:gd name="T84" fmla="*/ 200 w 312"/>
                <a:gd name="T85" fmla="*/ 93 h 170"/>
                <a:gd name="T86" fmla="*/ 201 w 312"/>
                <a:gd name="T87" fmla="*/ 93 h 170"/>
                <a:gd name="T88" fmla="*/ 201 w 312"/>
                <a:gd name="T89" fmla="*/ 93 h 170"/>
                <a:gd name="T90" fmla="*/ 201 w 312"/>
                <a:gd name="T91" fmla="*/ 93 h 170"/>
                <a:gd name="T92" fmla="*/ 202 w 312"/>
                <a:gd name="T93" fmla="*/ 92 h 170"/>
                <a:gd name="T94" fmla="*/ 205 w 312"/>
                <a:gd name="T95" fmla="*/ 91 h 170"/>
                <a:gd name="T96" fmla="*/ 206 w 312"/>
                <a:gd name="T97" fmla="*/ 91 h 170"/>
                <a:gd name="T98" fmla="*/ 206 w 312"/>
                <a:gd name="T99" fmla="*/ 91 h 170"/>
                <a:gd name="T100" fmla="*/ 207 w 312"/>
                <a:gd name="T101" fmla="*/ 91 h 170"/>
                <a:gd name="T102" fmla="*/ 207 w 312"/>
                <a:gd name="T103" fmla="*/ 90 h 170"/>
                <a:gd name="T104" fmla="*/ 213 w 312"/>
                <a:gd name="T105" fmla="*/ 90 h 170"/>
                <a:gd name="T106" fmla="*/ 220 w 312"/>
                <a:gd name="T107" fmla="*/ 91 h 170"/>
                <a:gd name="T108" fmla="*/ 225 w 312"/>
                <a:gd name="T109" fmla="*/ 91 h 170"/>
                <a:gd name="T110" fmla="*/ 266 w 312"/>
                <a:gd name="T111" fmla="*/ 93 h 170"/>
                <a:gd name="T112" fmla="*/ 276 w 312"/>
                <a:gd name="T113" fmla="*/ 78 h 170"/>
                <a:gd name="T114" fmla="*/ 312 w 312"/>
                <a:gd name="T115" fmla="*/ 7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170">
                  <a:moveTo>
                    <a:pt x="305" y="63"/>
                  </a:moveTo>
                  <a:cubicBezTo>
                    <a:pt x="304" y="59"/>
                    <a:pt x="299" y="57"/>
                    <a:pt x="294" y="56"/>
                  </a:cubicBezTo>
                  <a:cubicBezTo>
                    <a:pt x="290" y="55"/>
                    <a:pt x="286" y="55"/>
                    <a:pt x="281" y="55"/>
                  </a:cubicBezTo>
                  <a:cubicBezTo>
                    <a:pt x="280" y="55"/>
                    <a:pt x="279" y="55"/>
                    <a:pt x="277" y="55"/>
                  </a:cubicBezTo>
                  <a:cubicBezTo>
                    <a:pt x="275" y="55"/>
                    <a:pt x="275" y="55"/>
                    <a:pt x="275" y="55"/>
                  </a:cubicBezTo>
                  <a:cubicBezTo>
                    <a:pt x="264" y="55"/>
                    <a:pt x="249" y="51"/>
                    <a:pt x="249" y="51"/>
                  </a:cubicBezTo>
                  <a:cubicBezTo>
                    <a:pt x="245" y="35"/>
                    <a:pt x="245" y="35"/>
                    <a:pt x="245" y="35"/>
                  </a:cubicBezTo>
                  <a:cubicBezTo>
                    <a:pt x="245" y="35"/>
                    <a:pt x="238" y="40"/>
                    <a:pt x="227" y="43"/>
                  </a:cubicBezTo>
                  <a:cubicBezTo>
                    <a:pt x="224" y="44"/>
                    <a:pt x="222" y="45"/>
                    <a:pt x="219" y="45"/>
                  </a:cubicBezTo>
                  <a:cubicBezTo>
                    <a:pt x="217" y="45"/>
                    <a:pt x="215" y="45"/>
                    <a:pt x="214" y="45"/>
                  </a:cubicBezTo>
                  <a:cubicBezTo>
                    <a:pt x="212" y="45"/>
                    <a:pt x="212" y="45"/>
                    <a:pt x="212" y="45"/>
                  </a:cubicBezTo>
                  <a:cubicBezTo>
                    <a:pt x="211" y="45"/>
                    <a:pt x="211" y="45"/>
                    <a:pt x="211" y="45"/>
                  </a:cubicBezTo>
                  <a:cubicBezTo>
                    <a:pt x="210" y="45"/>
                    <a:pt x="210" y="45"/>
                    <a:pt x="210" y="45"/>
                  </a:cubicBezTo>
                  <a:cubicBezTo>
                    <a:pt x="209" y="45"/>
                    <a:pt x="209" y="45"/>
                    <a:pt x="209" y="45"/>
                  </a:cubicBezTo>
                  <a:cubicBezTo>
                    <a:pt x="207" y="45"/>
                    <a:pt x="205" y="45"/>
                    <a:pt x="204" y="45"/>
                  </a:cubicBezTo>
                  <a:cubicBezTo>
                    <a:pt x="202" y="46"/>
                    <a:pt x="201" y="46"/>
                    <a:pt x="200" y="46"/>
                  </a:cubicBezTo>
                  <a:cubicBezTo>
                    <a:pt x="192" y="50"/>
                    <a:pt x="177" y="64"/>
                    <a:pt x="169" y="64"/>
                  </a:cubicBezTo>
                  <a:cubicBezTo>
                    <a:pt x="167" y="64"/>
                    <a:pt x="167" y="64"/>
                    <a:pt x="167" y="64"/>
                  </a:cubicBezTo>
                  <a:cubicBezTo>
                    <a:pt x="167" y="64"/>
                    <a:pt x="167" y="64"/>
                    <a:pt x="167" y="64"/>
                  </a:cubicBezTo>
                  <a:cubicBezTo>
                    <a:pt x="167" y="64"/>
                    <a:pt x="167" y="64"/>
                    <a:pt x="167" y="64"/>
                  </a:cubicBezTo>
                  <a:cubicBezTo>
                    <a:pt x="166" y="64"/>
                    <a:pt x="166" y="64"/>
                    <a:pt x="166" y="64"/>
                  </a:cubicBezTo>
                  <a:cubicBezTo>
                    <a:pt x="166" y="64"/>
                    <a:pt x="166" y="64"/>
                    <a:pt x="166" y="64"/>
                  </a:cubicBezTo>
                  <a:cubicBezTo>
                    <a:pt x="165" y="64"/>
                    <a:pt x="165" y="64"/>
                    <a:pt x="165" y="64"/>
                  </a:cubicBezTo>
                  <a:cubicBezTo>
                    <a:pt x="165" y="64"/>
                    <a:pt x="165" y="64"/>
                    <a:pt x="165" y="64"/>
                  </a:cubicBezTo>
                  <a:cubicBezTo>
                    <a:pt x="165" y="64"/>
                    <a:pt x="165" y="64"/>
                    <a:pt x="165" y="64"/>
                  </a:cubicBezTo>
                  <a:cubicBezTo>
                    <a:pt x="165" y="64"/>
                    <a:pt x="165" y="64"/>
                    <a:pt x="165" y="64"/>
                  </a:cubicBezTo>
                  <a:cubicBezTo>
                    <a:pt x="165" y="64"/>
                    <a:pt x="165" y="64"/>
                    <a:pt x="165" y="64"/>
                  </a:cubicBezTo>
                  <a:cubicBezTo>
                    <a:pt x="165" y="64"/>
                    <a:pt x="165" y="64"/>
                    <a:pt x="165" y="64"/>
                  </a:cubicBezTo>
                  <a:cubicBezTo>
                    <a:pt x="165" y="64"/>
                    <a:pt x="165" y="64"/>
                    <a:pt x="165" y="64"/>
                  </a:cubicBezTo>
                  <a:cubicBezTo>
                    <a:pt x="163" y="63"/>
                    <a:pt x="163" y="63"/>
                    <a:pt x="163" y="63"/>
                  </a:cubicBezTo>
                  <a:cubicBezTo>
                    <a:pt x="163" y="63"/>
                    <a:pt x="163" y="63"/>
                    <a:pt x="163" y="63"/>
                  </a:cubicBezTo>
                  <a:cubicBezTo>
                    <a:pt x="163" y="63"/>
                    <a:pt x="163" y="63"/>
                    <a:pt x="163" y="63"/>
                  </a:cubicBezTo>
                  <a:cubicBezTo>
                    <a:pt x="162" y="62"/>
                    <a:pt x="162" y="61"/>
                    <a:pt x="159" y="61"/>
                  </a:cubicBezTo>
                  <a:cubicBezTo>
                    <a:pt x="158" y="61"/>
                    <a:pt x="158" y="61"/>
                    <a:pt x="158" y="61"/>
                  </a:cubicBezTo>
                  <a:cubicBezTo>
                    <a:pt x="156" y="61"/>
                    <a:pt x="156" y="61"/>
                    <a:pt x="156" y="61"/>
                  </a:cubicBezTo>
                  <a:cubicBezTo>
                    <a:pt x="154" y="61"/>
                    <a:pt x="154" y="61"/>
                    <a:pt x="154" y="61"/>
                  </a:cubicBezTo>
                  <a:cubicBezTo>
                    <a:pt x="152" y="62"/>
                    <a:pt x="152" y="62"/>
                    <a:pt x="152" y="62"/>
                  </a:cubicBezTo>
                  <a:cubicBezTo>
                    <a:pt x="148" y="62"/>
                    <a:pt x="144" y="60"/>
                    <a:pt x="140" y="58"/>
                  </a:cubicBezTo>
                  <a:cubicBezTo>
                    <a:pt x="137" y="57"/>
                    <a:pt x="135" y="54"/>
                    <a:pt x="134" y="51"/>
                  </a:cubicBezTo>
                  <a:cubicBezTo>
                    <a:pt x="131" y="45"/>
                    <a:pt x="116" y="39"/>
                    <a:pt x="108" y="38"/>
                  </a:cubicBezTo>
                  <a:cubicBezTo>
                    <a:pt x="108" y="38"/>
                    <a:pt x="108" y="38"/>
                    <a:pt x="108" y="38"/>
                  </a:cubicBezTo>
                  <a:cubicBezTo>
                    <a:pt x="105" y="38"/>
                    <a:pt x="101" y="40"/>
                    <a:pt x="97" y="42"/>
                  </a:cubicBezTo>
                  <a:cubicBezTo>
                    <a:pt x="94" y="44"/>
                    <a:pt x="92" y="46"/>
                    <a:pt x="90" y="47"/>
                  </a:cubicBezTo>
                  <a:cubicBezTo>
                    <a:pt x="90" y="47"/>
                    <a:pt x="90" y="47"/>
                    <a:pt x="90" y="47"/>
                  </a:cubicBezTo>
                  <a:cubicBezTo>
                    <a:pt x="89" y="46"/>
                    <a:pt x="89" y="46"/>
                    <a:pt x="89" y="46"/>
                  </a:cubicBezTo>
                  <a:cubicBezTo>
                    <a:pt x="88" y="44"/>
                    <a:pt x="88" y="44"/>
                    <a:pt x="88" y="44"/>
                  </a:cubicBezTo>
                  <a:cubicBezTo>
                    <a:pt x="88" y="41"/>
                    <a:pt x="91" y="35"/>
                    <a:pt x="94" y="27"/>
                  </a:cubicBezTo>
                  <a:cubicBezTo>
                    <a:pt x="98" y="18"/>
                    <a:pt x="115" y="8"/>
                    <a:pt x="115" y="2"/>
                  </a:cubicBezTo>
                  <a:cubicBezTo>
                    <a:pt x="115" y="2"/>
                    <a:pt x="115" y="2"/>
                    <a:pt x="115" y="2"/>
                  </a:cubicBezTo>
                  <a:cubicBezTo>
                    <a:pt x="115" y="0"/>
                    <a:pt x="113" y="0"/>
                    <a:pt x="110" y="0"/>
                  </a:cubicBezTo>
                  <a:cubicBezTo>
                    <a:pt x="106" y="0"/>
                    <a:pt x="101" y="0"/>
                    <a:pt x="97" y="2"/>
                  </a:cubicBezTo>
                  <a:cubicBezTo>
                    <a:pt x="92" y="3"/>
                    <a:pt x="88" y="5"/>
                    <a:pt x="86" y="7"/>
                  </a:cubicBezTo>
                  <a:cubicBezTo>
                    <a:pt x="82" y="13"/>
                    <a:pt x="67" y="26"/>
                    <a:pt x="63" y="37"/>
                  </a:cubicBezTo>
                  <a:cubicBezTo>
                    <a:pt x="58" y="47"/>
                    <a:pt x="27" y="56"/>
                    <a:pt x="18" y="62"/>
                  </a:cubicBezTo>
                  <a:cubicBezTo>
                    <a:pt x="15" y="65"/>
                    <a:pt x="8" y="67"/>
                    <a:pt x="0" y="69"/>
                  </a:cubicBezTo>
                  <a:cubicBezTo>
                    <a:pt x="2" y="76"/>
                    <a:pt x="5" y="86"/>
                    <a:pt x="9" y="94"/>
                  </a:cubicBezTo>
                  <a:cubicBezTo>
                    <a:pt x="14" y="103"/>
                    <a:pt x="21" y="109"/>
                    <a:pt x="27" y="111"/>
                  </a:cubicBezTo>
                  <a:cubicBezTo>
                    <a:pt x="48" y="116"/>
                    <a:pt x="72" y="122"/>
                    <a:pt x="102" y="137"/>
                  </a:cubicBezTo>
                  <a:cubicBezTo>
                    <a:pt x="123" y="147"/>
                    <a:pt x="132" y="161"/>
                    <a:pt x="136" y="170"/>
                  </a:cubicBezTo>
                  <a:cubicBezTo>
                    <a:pt x="138" y="168"/>
                    <a:pt x="138" y="168"/>
                    <a:pt x="138" y="168"/>
                  </a:cubicBezTo>
                  <a:cubicBezTo>
                    <a:pt x="144" y="163"/>
                    <a:pt x="138" y="159"/>
                    <a:pt x="144" y="149"/>
                  </a:cubicBezTo>
                  <a:cubicBezTo>
                    <a:pt x="151" y="139"/>
                    <a:pt x="163" y="105"/>
                    <a:pt x="165" y="105"/>
                  </a:cubicBezTo>
                  <a:cubicBezTo>
                    <a:pt x="166" y="105"/>
                    <a:pt x="165" y="112"/>
                    <a:pt x="169" y="114"/>
                  </a:cubicBezTo>
                  <a:cubicBezTo>
                    <a:pt x="170" y="114"/>
                    <a:pt x="170" y="114"/>
                    <a:pt x="170" y="114"/>
                  </a:cubicBezTo>
                  <a:cubicBezTo>
                    <a:pt x="173" y="114"/>
                    <a:pt x="177" y="106"/>
                    <a:pt x="181" y="104"/>
                  </a:cubicBezTo>
                  <a:cubicBezTo>
                    <a:pt x="181" y="104"/>
                    <a:pt x="181" y="104"/>
                    <a:pt x="181" y="104"/>
                  </a:cubicBezTo>
                  <a:cubicBezTo>
                    <a:pt x="182" y="104"/>
                    <a:pt x="182" y="104"/>
                    <a:pt x="182" y="104"/>
                  </a:cubicBezTo>
                  <a:cubicBezTo>
                    <a:pt x="182" y="104"/>
                    <a:pt x="182" y="104"/>
                    <a:pt x="182" y="104"/>
                  </a:cubicBezTo>
                  <a:cubicBezTo>
                    <a:pt x="182" y="104"/>
                    <a:pt x="182" y="104"/>
                    <a:pt x="182" y="104"/>
                  </a:cubicBezTo>
                  <a:cubicBezTo>
                    <a:pt x="182" y="106"/>
                    <a:pt x="182" y="106"/>
                    <a:pt x="182" y="106"/>
                  </a:cubicBezTo>
                  <a:cubicBezTo>
                    <a:pt x="182" y="107"/>
                    <a:pt x="182" y="109"/>
                    <a:pt x="181" y="111"/>
                  </a:cubicBezTo>
                  <a:cubicBezTo>
                    <a:pt x="180" y="114"/>
                    <a:pt x="179" y="117"/>
                    <a:pt x="181" y="117"/>
                  </a:cubicBezTo>
                  <a:cubicBezTo>
                    <a:pt x="181" y="117"/>
                    <a:pt x="181" y="117"/>
                    <a:pt x="181" y="117"/>
                  </a:cubicBezTo>
                  <a:cubicBezTo>
                    <a:pt x="183" y="117"/>
                    <a:pt x="190" y="104"/>
                    <a:pt x="198" y="95"/>
                  </a:cubicBezTo>
                  <a:cubicBezTo>
                    <a:pt x="198" y="95"/>
                    <a:pt x="198" y="95"/>
                    <a:pt x="198" y="95"/>
                  </a:cubicBezTo>
                  <a:cubicBezTo>
                    <a:pt x="198" y="95"/>
                    <a:pt x="198" y="95"/>
                    <a:pt x="198" y="95"/>
                  </a:cubicBezTo>
                  <a:cubicBezTo>
                    <a:pt x="199" y="95"/>
                    <a:pt x="199" y="95"/>
                    <a:pt x="199" y="95"/>
                  </a:cubicBezTo>
                  <a:cubicBezTo>
                    <a:pt x="199" y="95"/>
                    <a:pt x="199" y="95"/>
                    <a:pt x="199" y="95"/>
                  </a:cubicBezTo>
                  <a:cubicBezTo>
                    <a:pt x="199" y="94"/>
                    <a:pt x="199" y="94"/>
                    <a:pt x="199" y="94"/>
                  </a:cubicBezTo>
                  <a:cubicBezTo>
                    <a:pt x="199" y="94"/>
                    <a:pt x="199" y="94"/>
                    <a:pt x="199" y="94"/>
                  </a:cubicBezTo>
                  <a:cubicBezTo>
                    <a:pt x="199" y="94"/>
                    <a:pt x="199" y="94"/>
                    <a:pt x="199" y="94"/>
                  </a:cubicBezTo>
                  <a:cubicBezTo>
                    <a:pt x="200" y="94"/>
                    <a:pt x="200" y="94"/>
                    <a:pt x="200" y="94"/>
                  </a:cubicBezTo>
                  <a:cubicBezTo>
                    <a:pt x="200" y="94"/>
                    <a:pt x="200" y="94"/>
                    <a:pt x="200" y="94"/>
                  </a:cubicBezTo>
                  <a:cubicBezTo>
                    <a:pt x="200" y="94"/>
                    <a:pt x="200" y="94"/>
                    <a:pt x="200" y="94"/>
                  </a:cubicBezTo>
                  <a:cubicBezTo>
                    <a:pt x="200" y="93"/>
                    <a:pt x="200" y="93"/>
                    <a:pt x="200" y="93"/>
                  </a:cubicBezTo>
                  <a:cubicBezTo>
                    <a:pt x="200" y="93"/>
                    <a:pt x="200" y="93"/>
                    <a:pt x="200" y="93"/>
                  </a:cubicBezTo>
                  <a:cubicBezTo>
                    <a:pt x="201" y="93"/>
                    <a:pt x="201" y="93"/>
                    <a:pt x="201" y="93"/>
                  </a:cubicBezTo>
                  <a:cubicBezTo>
                    <a:pt x="201" y="93"/>
                    <a:pt x="201" y="93"/>
                    <a:pt x="201" y="93"/>
                  </a:cubicBezTo>
                  <a:cubicBezTo>
                    <a:pt x="201" y="93"/>
                    <a:pt x="201" y="93"/>
                    <a:pt x="201" y="93"/>
                  </a:cubicBezTo>
                  <a:cubicBezTo>
                    <a:pt x="201" y="93"/>
                    <a:pt x="201" y="93"/>
                    <a:pt x="201" y="93"/>
                  </a:cubicBezTo>
                  <a:cubicBezTo>
                    <a:pt x="201" y="93"/>
                    <a:pt x="201" y="93"/>
                    <a:pt x="201" y="93"/>
                  </a:cubicBezTo>
                  <a:cubicBezTo>
                    <a:pt x="201" y="93"/>
                    <a:pt x="201" y="93"/>
                    <a:pt x="201" y="93"/>
                  </a:cubicBezTo>
                  <a:cubicBezTo>
                    <a:pt x="202" y="92"/>
                    <a:pt x="202" y="92"/>
                    <a:pt x="202" y="92"/>
                  </a:cubicBezTo>
                  <a:cubicBezTo>
                    <a:pt x="202" y="92"/>
                    <a:pt x="202" y="92"/>
                    <a:pt x="202" y="92"/>
                  </a:cubicBezTo>
                  <a:cubicBezTo>
                    <a:pt x="202" y="92"/>
                    <a:pt x="202" y="92"/>
                    <a:pt x="202" y="92"/>
                  </a:cubicBezTo>
                  <a:cubicBezTo>
                    <a:pt x="203" y="91"/>
                    <a:pt x="204" y="91"/>
                    <a:pt x="205" y="91"/>
                  </a:cubicBezTo>
                  <a:cubicBezTo>
                    <a:pt x="205" y="91"/>
                    <a:pt x="205" y="91"/>
                    <a:pt x="205" y="91"/>
                  </a:cubicBezTo>
                  <a:cubicBezTo>
                    <a:pt x="206" y="91"/>
                    <a:pt x="206" y="91"/>
                    <a:pt x="206" y="91"/>
                  </a:cubicBezTo>
                  <a:cubicBezTo>
                    <a:pt x="206" y="91"/>
                    <a:pt x="206" y="91"/>
                    <a:pt x="206" y="91"/>
                  </a:cubicBezTo>
                  <a:cubicBezTo>
                    <a:pt x="206" y="91"/>
                    <a:pt x="206" y="91"/>
                    <a:pt x="206" y="91"/>
                  </a:cubicBezTo>
                  <a:cubicBezTo>
                    <a:pt x="206" y="91"/>
                    <a:pt x="206" y="91"/>
                    <a:pt x="206" y="91"/>
                  </a:cubicBezTo>
                  <a:cubicBezTo>
                    <a:pt x="207" y="91"/>
                    <a:pt x="207" y="91"/>
                    <a:pt x="207" y="91"/>
                  </a:cubicBezTo>
                  <a:cubicBezTo>
                    <a:pt x="207" y="91"/>
                    <a:pt x="207" y="91"/>
                    <a:pt x="207" y="91"/>
                  </a:cubicBezTo>
                  <a:cubicBezTo>
                    <a:pt x="207" y="90"/>
                    <a:pt x="207" y="90"/>
                    <a:pt x="207" y="90"/>
                  </a:cubicBezTo>
                  <a:cubicBezTo>
                    <a:pt x="208" y="90"/>
                    <a:pt x="209" y="90"/>
                    <a:pt x="210" y="90"/>
                  </a:cubicBezTo>
                  <a:cubicBezTo>
                    <a:pt x="211" y="90"/>
                    <a:pt x="212" y="90"/>
                    <a:pt x="213" y="90"/>
                  </a:cubicBezTo>
                  <a:cubicBezTo>
                    <a:pt x="215" y="90"/>
                    <a:pt x="215" y="90"/>
                    <a:pt x="215" y="90"/>
                  </a:cubicBezTo>
                  <a:cubicBezTo>
                    <a:pt x="217" y="91"/>
                    <a:pt x="218" y="91"/>
                    <a:pt x="220" y="91"/>
                  </a:cubicBezTo>
                  <a:cubicBezTo>
                    <a:pt x="221" y="91"/>
                    <a:pt x="222" y="91"/>
                    <a:pt x="223" y="91"/>
                  </a:cubicBezTo>
                  <a:cubicBezTo>
                    <a:pt x="225" y="91"/>
                    <a:pt x="225" y="91"/>
                    <a:pt x="225" y="91"/>
                  </a:cubicBezTo>
                  <a:cubicBezTo>
                    <a:pt x="238" y="90"/>
                    <a:pt x="231" y="81"/>
                    <a:pt x="241" y="81"/>
                  </a:cubicBezTo>
                  <a:cubicBezTo>
                    <a:pt x="251" y="81"/>
                    <a:pt x="266" y="93"/>
                    <a:pt x="266" y="93"/>
                  </a:cubicBezTo>
                  <a:cubicBezTo>
                    <a:pt x="266" y="93"/>
                    <a:pt x="268" y="85"/>
                    <a:pt x="270" y="80"/>
                  </a:cubicBezTo>
                  <a:cubicBezTo>
                    <a:pt x="270" y="79"/>
                    <a:pt x="273" y="78"/>
                    <a:pt x="276" y="78"/>
                  </a:cubicBezTo>
                  <a:cubicBezTo>
                    <a:pt x="283" y="79"/>
                    <a:pt x="296" y="81"/>
                    <a:pt x="306" y="81"/>
                  </a:cubicBezTo>
                  <a:cubicBezTo>
                    <a:pt x="311" y="81"/>
                    <a:pt x="312" y="80"/>
                    <a:pt x="312" y="78"/>
                  </a:cubicBezTo>
                  <a:cubicBezTo>
                    <a:pt x="312" y="75"/>
                    <a:pt x="307" y="69"/>
                    <a:pt x="305" y="63"/>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5" name="Freeform 56">
              <a:extLst>
                <a:ext uri="{FF2B5EF4-FFF2-40B4-BE49-F238E27FC236}">
                  <a16:creationId xmlns:a16="http://schemas.microsoft.com/office/drawing/2014/main" id="{766D8640-6CAB-052A-AE21-C741C4086E1A}"/>
                </a:ext>
              </a:extLst>
            </p:cNvPr>
            <p:cNvSpPr>
              <a:spLocks/>
            </p:cNvSpPr>
            <p:nvPr/>
          </p:nvSpPr>
          <p:spPr bwMode="auto">
            <a:xfrm>
              <a:off x="2940501" y="4105227"/>
              <a:ext cx="2047853" cy="1987396"/>
            </a:xfrm>
            <a:custGeom>
              <a:avLst/>
              <a:gdLst>
                <a:gd name="T0" fmla="*/ 204 w 740"/>
                <a:gd name="T1" fmla="*/ 297 h 716"/>
                <a:gd name="T2" fmla="*/ 0 w 740"/>
                <a:gd name="T3" fmla="*/ 292 h 716"/>
                <a:gd name="T4" fmla="*/ 76 w 740"/>
                <a:gd name="T5" fmla="*/ 382 h 716"/>
                <a:gd name="T6" fmla="*/ 138 w 740"/>
                <a:gd name="T7" fmla="*/ 477 h 716"/>
                <a:gd name="T8" fmla="*/ 182 w 740"/>
                <a:gd name="T9" fmla="*/ 496 h 716"/>
                <a:gd name="T10" fmla="*/ 229 w 740"/>
                <a:gd name="T11" fmla="*/ 448 h 716"/>
                <a:gd name="T12" fmla="*/ 317 w 740"/>
                <a:gd name="T13" fmla="*/ 479 h 716"/>
                <a:gd name="T14" fmla="*/ 374 w 740"/>
                <a:gd name="T15" fmla="*/ 579 h 716"/>
                <a:gd name="T16" fmla="*/ 403 w 740"/>
                <a:gd name="T17" fmla="*/ 625 h 716"/>
                <a:gd name="T18" fmla="*/ 433 w 740"/>
                <a:gd name="T19" fmla="*/ 688 h 716"/>
                <a:gd name="T20" fmla="*/ 448 w 740"/>
                <a:gd name="T21" fmla="*/ 688 h 716"/>
                <a:gd name="T22" fmla="*/ 523 w 740"/>
                <a:gd name="T23" fmla="*/ 716 h 716"/>
                <a:gd name="T24" fmla="*/ 517 w 740"/>
                <a:gd name="T25" fmla="*/ 666 h 716"/>
                <a:gd name="T26" fmla="*/ 501 w 740"/>
                <a:gd name="T27" fmla="*/ 620 h 716"/>
                <a:gd name="T28" fmla="*/ 518 w 740"/>
                <a:gd name="T29" fmla="*/ 618 h 716"/>
                <a:gd name="T30" fmla="*/ 529 w 740"/>
                <a:gd name="T31" fmla="*/ 610 h 716"/>
                <a:gd name="T32" fmla="*/ 527 w 740"/>
                <a:gd name="T33" fmla="*/ 591 h 716"/>
                <a:gd name="T34" fmla="*/ 542 w 740"/>
                <a:gd name="T35" fmla="*/ 585 h 716"/>
                <a:gd name="T36" fmla="*/ 580 w 740"/>
                <a:gd name="T37" fmla="*/ 546 h 716"/>
                <a:gd name="T38" fmla="*/ 587 w 740"/>
                <a:gd name="T39" fmla="*/ 531 h 716"/>
                <a:gd name="T40" fmla="*/ 600 w 740"/>
                <a:gd name="T41" fmla="*/ 537 h 716"/>
                <a:gd name="T42" fmla="*/ 668 w 740"/>
                <a:gd name="T43" fmla="*/ 489 h 716"/>
                <a:gd name="T44" fmla="*/ 663 w 740"/>
                <a:gd name="T45" fmla="*/ 468 h 716"/>
                <a:gd name="T46" fmla="*/ 676 w 740"/>
                <a:gd name="T47" fmla="*/ 455 h 716"/>
                <a:gd name="T48" fmla="*/ 679 w 740"/>
                <a:gd name="T49" fmla="*/ 461 h 716"/>
                <a:gd name="T50" fmla="*/ 713 w 740"/>
                <a:gd name="T51" fmla="*/ 462 h 716"/>
                <a:gd name="T52" fmla="*/ 714 w 740"/>
                <a:gd name="T53" fmla="*/ 461 h 716"/>
                <a:gd name="T54" fmla="*/ 714 w 740"/>
                <a:gd name="T55" fmla="*/ 461 h 716"/>
                <a:gd name="T56" fmla="*/ 722 w 740"/>
                <a:gd name="T57" fmla="*/ 458 h 716"/>
                <a:gd name="T58" fmla="*/ 733 w 740"/>
                <a:gd name="T59" fmla="*/ 406 h 716"/>
                <a:gd name="T60" fmla="*/ 721 w 740"/>
                <a:gd name="T61" fmla="*/ 315 h 716"/>
                <a:gd name="T62" fmla="*/ 709 w 740"/>
                <a:gd name="T63" fmla="*/ 221 h 716"/>
                <a:gd name="T64" fmla="*/ 691 w 740"/>
                <a:gd name="T65" fmla="*/ 196 h 716"/>
                <a:gd name="T66" fmla="*/ 654 w 740"/>
                <a:gd name="T67" fmla="*/ 181 h 716"/>
                <a:gd name="T68" fmla="*/ 639 w 740"/>
                <a:gd name="T69" fmla="*/ 181 h 716"/>
                <a:gd name="T70" fmla="*/ 628 w 740"/>
                <a:gd name="T71" fmla="*/ 183 h 716"/>
                <a:gd name="T72" fmla="*/ 606 w 740"/>
                <a:gd name="T73" fmla="*/ 184 h 716"/>
                <a:gd name="T74" fmla="*/ 583 w 740"/>
                <a:gd name="T75" fmla="*/ 196 h 716"/>
                <a:gd name="T76" fmla="*/ 549 w 740"/>
                <a:gd name="T77" fmla="*/ 178 h 716"/>
                <a:gd name="T78" fmla="*/ 538 w 740"/>
                <a:gd name="T79" fmla="*/ 195 h 716"/>
                <a:gd name="T80" fmla="*/ 524 w 740"/>
                <a:gd name="T81" fmla="*/ 188 h 716"/>
                <a:gd name="T82" fmla="*/ 507 w 740"/>
                <a:gd name="T83" fmla="*/ 180 h 716"/>
                <a:gd name="T84" fmla="*/ 489 w 740"/>
                <a:gd name="T85" fmla="*/ 178 h 716"/>
                <a:gd name="T86" fmla="*/ 468 w 740"/>
                <a:gd name="T87" fmla="*/ 163 h 716"/>
                <a:gd name="T88" fmla="*/ 458 w 740"/>
                <a:gd name="T89" fmla="*/ 163 h 716"/>
                <a:gd name="T90" fmla="*/ 437 w 740"/>
                <a:gd name="T91" fmla="*/ 160 h 716"/>
                <a:gd name="T92" fmla="*/ 383 w 740"/>
                <a:gd name="T93" fmla="*/ 135 h 716"/>
                <a:gd name="T94" fmla="*/ 226 w 740"/>
                <a:gd name="T95"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0" h="716">
                  <a:moveTo>
                    <a:pt x="226" y="0"/>
                  </a:moveTo>
                  <a:cubicBezTo>
                    <a:pt x="207" y="295"/>
                    <a:pt x="207" y="295"/>
                    <a:pt x="207" y="295"/>
                  </a:cubicBezTo>
                  <a:cubicBezTo>
                    <a:pt x="207" y="296"/>
                    <a:pt x="206" y="297"/>
                    <a:pt x="204" y="297"/>
                  </a:cubicBezTo>
                  <a:cubicBezTo>
                    <a:pt x="204" y="297"/>
                    <a:pt x="204" y="297"/>
                    <a:pt x="204" y="297"/>
                  </a:cubicBezTo>
                  <a:cubicBezTo>
                    <a:pt x="2" y="283"/>
                    <a:pt x="2" y="283"/>
                    <a:pt x="2" y="283"/>
                  </a:cubicBezTo>
                  <a:cubicBezTo>
                    <a:pt x="0" y="292"/>
                    <a:pt x="0" y="292"/>
                    <a:pt x="0" y="292"/>
                  </a:cubicBezTo>
                  <a:cubicBezTo>
                    <a:pt x="2" y="293"/>
                    <a:pt x="5" y="294"/>
                    <a:pt x="8" y="296"/>
                  </a:cubicBezTo>
                  <a:cubicBezTo>
                    <a:pt x="20" y="303"/>
                    <a:pt x="16" y="308"/>
                    <a:pt x="30" y="326"/>
                  </a:cubicBezTo>
                  <a:cubicBezTo>
                    <a:pt x="43" y="344"/>
                    <a:pt x="67" y="371"/>
                    <a:pt x="76" y="382"/>
                  </a:cubicBezTo>
                  <a:cubicBezTo>
                    <a:pt x="85" y="392"/>
                    <a:pt x="95" y="403"/>
                    <a:pt x="97" y="419"/>
                  </a:cubicBezTo>
                  <a:cubicBezTo>
                    <a:pt x="100" y="436"/>
                    <a:pt x="100" y="441"/>
                    <a:pt x="109" y="451"/>
                  </a:cubicBezTo>
                  <a:cubicBezTo>
                    <a:pt x="118" y="461"/>
                    <a:pt x="126" y="467"/>
                    <a:pt x="138" y="477"/>
                  </a:cubicBezTo>
                  <a:cubicBezTo>
                    <a:pt x="149" y="487"/>
                    <a:pt x="165" y="487"/>
                    <a:pt x="176" y="494"/>
                  </a:cubicBezTo>
                  <a:cubicBezTo>
                    <a:pt x="177" y="495"/>
                    <a:pt x="178" y="495"/>
                    <a:pt x="179" y="496"/>
                  </a:cubicBezTo>
                  <a:cubicBezTo>
                    <a:pt x="180" y="496"/>
                    <a:pt x="181" y="496"/>
                    <a:pt x="182" y="496"/>
                  </a:cubicBezTo>
                  <a:cubicBezTo>
                    <a:pt x="183" y="496"/>
                    <a:pt x="185" y="495"/>
                    <a:pt x="186" y="494"/>
                  </a:cubicBezTo>
                  <a:cubicBezTo>
                    <a:pt x="190" y="491"/>
                    <a:pt x="194" y="480"/>
                    <a:pt x="204" y="469"/>
                  </a:cubicBezTo>
                  <a:cubicBezTo>
                    <a:pt x="220" y="451"/>
                    <a:pt x="215" y="448"/>
                    <a:pt x="229" y="448"/>
                  </a:cubicBezTo>
                  <a:cubicBezTo>
                    <a:pt x="248" y="448"/>
                    <a:pt x="248" y="448"/>
                    <a:pt x="248" y="448"/>
                  </a:cubicBezTo>
                  <a:cubicBezTo>
                    <a:pt x="248" y="448"/>
                    <a:pt x="281" y="448"/>
                    <a:pt x="289" y="449"/>
                  </a:cubicBezTo>
                  <a:cubicBezTo>
                    <a:pt x="297" y="450"/>
                    <a:pt x="299" y="467"/>
                    <a:pt x="317" y="479"/>
                  </a:cubicBezTo>
                  <a:cubicBezTo>
                    <a:pt x="335" y="491"/>
                    <a:pt x="324" y="494"/>
                    <a:pt x="335" y="517"/>
                  </a:cubicBezTo>
                  <a:cubicBezTo>
                    <a:pt x="345" y="539"/>
                    <a:pt x="348" y="536"/>
                    <a:pt x="354" y="550"/>
                  </a:cubicBezTo>
                  <a:cubicBezTo>
                    <a:pt x="359" y="563"/>
                    <a:pt x="365" y="565"/>
                    <a:pt x="374" y="579"/>
                  </a:cubicBezTo>
                  <a:cubicBezTo>
                    <a:pt x="383" y="592"/>
                    <a:pt x="388" y="589"/>
                    <a:pt x="399" y="600"/>
                  </a:cubicBezTo>
                  <a:cubicBezTo>
                    <a:pt x="403" y="605"/>
                    <a:pt x="404" y="609"/>
                    <a:pt x="404" y="612"/>
                  </a:cubicBezTo>
                  <a:cubicBezTo>
                    <a:pt x="404" y="616"/>
                    <a:pt x="403" y="620"/>
                    <a:pt x="403" y="625"/>
                  </a:cubicBezTo>
                  <a:cubicBezTo>
                    <a:pt x="403" y="627"/>
                    <a:pt x="403" y="629"/>
                    <a:pt x="403" y="631"/>
                  </a:cubicBezTo>
                  <a:cubicBezTo>
                    <a:pt x="406" y="645"/>
                    <a:pt x="412" y="663"/>
                    <a:pt x="422" y="679"/>
                  </a:cubicBezTo>
                  <a:cubicBezTo>
                    <a:pt x="426" y="687"/>
                    <a:pt x="429" y="688"/>
                    <a:pt x="433" y="688"/>
                  </a:cubicBezTo>
                  <a:cubicBezTo>
                    <a:pt x="434" y="688"/>
                    <a:pt x="435" y="688"/>
                    <a:pt x="437" y="688"/>
                  </a:cubicBezTo>
                  <a:cubicBezTo>
                    <a:pt x="438" y="688"/>
                    <a:pt x="440" y="687"/>
                    <a:pt x="442" y="687"/>
                  </a:cubicBezTo>
                  <a:cubicBezTo>
                    <a:pt x="443" y="687"/>
                    <a:pt x="446" y="688"/>
                    <a:pt x="448" y="688"/>
                  </a:cubicBezTo>
                  <a:cubicBezTo>
                    <a:pt x="462" y="693"/>
                    <a:pt x="455" y="696"/>
                    <a:pt x="471" y="702"/>
                  </a:cubicBezTo>
                  <a:cubicBezTo>
                    <a:pt x="486" y="707"/>
                    <a:pt x="488" y="703"/>
                    <a:pt x="505" y="709"/>
                  </a:cubicBezTo>
                  <a:cubicBezTo>
                    <a:pt x="522" y="715"/>
                    <a:pt x="523" y="716"/>
                    <a:pt x="523" y="716"/>
                  </a:cubicBezTo>
                  <a:cubicBezTo>
                    <a:pt x="523" y="716"/>
                    <a:pt x="530" y="715"/>
                    <a:pt x="530" y="711"/>
                  </a:cubicBezTo>
                  <a:cubicBezTo>
                    <a:pt x="530" y="697"/>
                    <a:pt x="530" y="697"/>
                    <a:pt x="530" y="697"/>
                  </a:cubicBezTo>
                  <a:cubicBezTo>
                    <a:pt x="530" y="693"/>
                    <a:pt x="519" y="677"/>
                    <a:pt x="517" y="666"/>
                  </a:cubicBezTo>
                  <a:cubicBezTo>
                    <a:pt x="516" y="662"/>
                    <a:pt x="516" y="659"/>
                    <a:pt x="516" y="657"/>
                  </a:cubicBezTo>
                  <a:cubicBezTo>
                    <a:pt x="516" y="652"/>
                    <a:pt x="517" y="648"/>
                    <a:pt x="517" y="642"/>
                  </a:cubicBezTo>
                  <a:cubicBezTo>
                    <a:pt x="517" y="632"/>
                    <a:pt x="501" y="620"/>
                    <a:pt x="501" y="620"/>
                  </a:cubicBezTo>
                  <a:cubicBezTo>
                    <a:pt x="501" y="620"/>
                    <a:pt x="508" y="618"/>
                    <a:pt x="515" y="618"/>
                  </a:cubicBezTo>
                  <a:cubicBezTo>
                    <a:pt x="517" y="618"/>
                    <a:pt x="517" y="618"/>
                    <a:pt x="517" y="618"/>
                  </a:cubicBezTo>
                  <a:cubicBezTo>
                    <a:pt x="518" y="618"/>
                    <a:pt x="518" y="618"/>
                    <a:pt x="518" y="618"/>
                  </a:cubicBezTo>
                  <a:cubicBezTo>
                    <a:pt x="519" y="618"/>
                    <a:pt x="519" y="618"/>
                    <a:pt x="519" y="618"/>
                  </a:cubicBezTo>
                  <a:cubicBezTo>
                    <a:pt x="520" y="618"/>
                    <a:pt x="520" y="618"/>
                    <a:pt x="520" y="618"/>
                  </a:cubicBezTo>
                  <a:cubicBezTo>
                    <a:pt x="526" y="618"/>
                    <a:pt x="524" y="616"/>
                    <a:pt x="529" y="610"/>
                  </a:cubicBezTo>
                  <a:cubicBezTo>
                    <a:pt x="531" y="608"/>
                    <a:pt x="532" y="605"/>
                    <a:pt x="532" y="604"/>
                  </a:cubicBezTo>
                  <a:cubicBezTo>
                    <a:pt x="532" y="601"/>
                    <a:pt x="530" y="599"/>
                    <a:pt x="529" y="597"/>
                  </a:cubicBezTo>
                  <a:cubicBezTo>
                    <a:pt x="528" y="595"/>
                    <a:pt x="527" y="593"/>
                    <a:pt x="527" y="591"/>
                  </a:cubicBezTo>
                  <a:cubicBezTo>
                    <a:pt x="527" y="588"/>
                    <a:pt x="529" y="584"/>
                    <a:pt x="533" y="584"/>
                  </a:cubicBezTo>
                  <a:cubicBezTo>
                    <a:pt x="539" y="584"/>
                    <a:pt x="539" y="586"/>
                    <a:pt x="540" y="586"/>
                  </a:cubicBezTo>
                  <a:cubicBezTo>
                    <a:pt x="541" y="586"/>
                    <a:pt x="541" y="586"/>
                    <a:pt x="542" y="585"/>
                  </a:cubicBezTo>
                  <a:cubicBezTo>
                    <a:pt x="545" y="582"/>
                    <a:pt x="554" y="574"/>
                    <a:pt x="561" y="568"/>
                  </a:cubicBezTo>
                  <a:cubicBezTo>
                    <a:pt x="568" y="562"/>
                    <a:pt x="570" y="558"/>
                    <a:pt x="577" y="551"/>
                  </a:cubicBezTo>
                  <a:cubicBezTo>
                    <a:pt x="579" y="549"/>
                    <a:pt x="580" y="548"/>
                    <a:pt x="580" y="546"/>
                  </a:cubicBezTo>
                  <a:cubicBezTo>
                    <a:pt x="580" y="543"/>
                    <a:pt x="575" y="543"/>
                    <a:pt x="574" y="539"/>
                  </a:cubicBezTo>
                  <a:cubicBezTo>
                    <a:pt x="574" y="538"/>
                    <a:pt x="574" y="538"/>
                    <a:pt x="574" y="538"/>
                  </a:cubicBezTo>
                  <a:cubicBezTo>
                    <a:pt x="574" y="534"/>
                    <a:pt x="580" y="531"/>
                    <a:pt x="587" y="531"/>
                  </a:cubicBezTo>
                  <a:cubicBezTo>
                    <a:pt x="588" y="531"/>
                    <a:pt x="588" y="531"/>
                    <a:pt x="588" y="531"/>
                  </a:cubicBezTo>
                  <a:cubicBezTo>
                    <a:pt x="590" y="531"/>
                    <a:pt x="590" y="531"/>
                    <a:pt x="590" y="531"/>
                  </a:cubicBezTo>
                  <a:cubicBezTo>
                    <a:pt x="598" y="532"/>
                    <a:pt x="597" y="537"/>
                    <a:pt x="600" y="537"/>
                  </a:cubicBezTo>
                  <a:cubicBezTo>
                    <a:pt x="601" y="536"/>
                    <a:pt x="601" y="536"/>
                    <a:pt x="601" y="536"/>
                  </a:cubicBezTo>
                  <a:cubicBezTo>
                    <a:pt x="606" y="533"/>
                    <a:pt x="647" y="508"/>
                    <a:pt x="652" y="501"/>
                  </a:cubicBezTo>
                  <a:cubicBezTo>
                    <a:pt x="656" y="495"/>
                    <a:pt x="663" y="495"/>
                    <a:pt x="668" y="489"/>
                  </a:cubicBezTo>
                  <a:cubicBezTo>
                    <a:pt x="670" y="487"/>
                    <a:pt x="670" y="485"/>
                    <a:pt x="670" y="483"/>
                  </a:cubicBezTo>
                  <a:cubicBezTo>
                    <a:pt x="670" y="479"/>
                    <a:pt x="668" y="476"/>
                    <a:pt x="664" y="471"/>
                  </a:cubicBezTo>
                  <a:cubicBezTo>
                    <a:pt x="663" y="470"/>
                    <a:pt x="663" y="469"/>
                    <a:pt x="663" y="468"/>
                  </a:cubicBezTo>
                  <a:cubicBezTo>
                    <a:pt x="663" y="464"/>
                    <a:pt x="669" y="465"/>
                    <a:pt x="673" y="459"/>
                  </a:cubicBezTo>
                  <a:cubicBezTo>
                    <a:pt x="674" y="457"/>
                    <a:pt x="674" y="457"/>
                    <a:pt x="674" y="457"/>
                  </a:cubicBezTo>
                  <a:cubicBezTo>
                    <a:pt x="675" y="456"/>
                    <a:pt x="676" y="455"/>
                    <a:pt x="676" y="455"/>
                  </a:cubicBezTo>
                  <a:cubicBezTo>
                    <a:pt x="677" y="455"/>
                    <a:pt x="677" y="455"/>
                    <a:pt x="677" y="455"/>
                  </a:cubicBezTo>
                  <a:cubicBezTo>
                    <a:pt x="677" y="456"/>
                    <a:pt x="678" y="456"/>
                    <a:pt x="678" y="457"/>
                  </a:cubicBezTo>
                  <a:cubicBezTo>
                    <a:pt x="678" y="458"/>
                    <a:pt x="679" y="460"/>
                    <a:pt x="679" y="461"/>
                  </a:cubicBezTo>
                  <a:cubicBezTo>
                    <a:pt x="679" y="462"/>
                    <a:pt x="680" y="464"/>
                    <a:pt x="681" y="464"/>
                  </a:cubicBezTo>
                  <a:cubicBezTo>
                    <a:pt x="684" y="469"/>
                    <a:pt x="687" y="475"/>
                    <a:pt x="690" y="475"/>
                  </a:cubicBezTo>
                  <a:cubicBezTo>
                    <a:pt x="693" y="475"/>
                    <a:pt x="709" y="465"/>
                    <a:pt x="713" y="462"/>
                  </a:cubicBezTo>
                  <a:cubicBezTo>
                    <a:pt x="714" y="462"/>
                    <a:pt x="714" y="462"/>
                    <a:pt x="714" y="462"/>
                  </a:cubicBezTo>
                  <a:cubicBezTo>
                    <a:pt x="714" y="462"/>
                    <a:pt x="714" y="462"/>
                    <a:pt x="714" y="462"/>
                  </a:cubicBezTo>
                  <a:cubicBezTo>
                    <a:pt x="714" y="461"/>
                    <a:pt x="714" y="461"/>
                    <a:pt x="714" y="461"/>
                  </a:cubicBezTo>
                  <a:cubicBezTo>
                    <a:pt x="714" y="461"/>
                    <a:pt x="714" y="461"/>
                    <a:pt x="714" y="461"/>
                  </a:cubicBezTo>
                  <a:cubicBezTo>
                    <a:pt x="714" y="461"/>
                    <a:pt x="714" y="461"/>
                    <a:pt x="714" y="461"/>
                  </a:cubicBezTo>
                  <a:cubicBezTo>
                    <a:pt x="714" y="461"/>
                    <a:pt x="714" y="461"/>
                    <a:pt x="714" y="461"/>
                  </a:cubicBezTo>
                  <a:cubicBezTo>
                    <a:pt x="716" y="460"/>
                    <a:pt x="719" y="459"/>
                    <a:pt x="722" y="458"/>
                  </a:cubicBezTo>
                  <a:cubicBezTo>
                    <a:pt x="722" y="458"/>
                    <a:pt x="722" y="458"/>
                    <a:pt x="722" y="458"/>
                  </a:cubicBezTo>
                  <a:cubicBezTo>
                    <a:pt x="722" y="458"/>
                    <a:pt x="722" y="458"/>
                    <a:pt x="722" y="458"/>
                  </a:cubicBezTo>
                  <a:cubicBezTo>
                    <a:pt x="724" y="458"/>
                    <a:pt x="725" y="457"/>
                    <a:pt x="727" y="457"/>
                  </a:cubicBezTo>
                  <a:cubicBezTo>
                    <a:pt x="727" y="453"/>
                    <a:pt x="727" y="449"/>
                    <a:pt x="727" y="445"/>
                  </a:cubicBezTo>
                  <a:cubicBezTo>
                    <a:pt x="728" y="431"/>
                    <a:pt x="730" y="414"/>
                    <a:pt x="733" y="406"/>
                  </a:cubicBezTo>
                  <a:cubicBezTo>
                    <a:pt x="738" y="393"/>
                    <a:pt x="740" y="381"/>
                    <a:pt x="739" y="370"/>
                  </a:cubicBezTo>
                  <a:cubicBezTo>
                    <a:pt x="739" y="368"/>
                    <a:pt x="739" y="366"/>
                    <a:pt x="739" y="364"/>
                  </a:cubicBezTo>
                  <a:cubicBezTo>
                    <a:pt x="738" y="351"/>
                    <a:pt x="728" y="327"/>
                    <a:pt x="721" y="315"/>
                  </a:cubicBezTo>
                  <a:cubicBezTo>
                    <a:pt x="714" y="305"/>
                    <a:pt x="706" y="295"/>
                    <a:pt x="706" y="282"/>
                  </a:cubicBezTo>
                  <a:cubicBezTo>
                    <a:pt x="706" y="282"/>
                    <a:pt x="706" y="281"/>
                    <a:pt x="706" y="280"/>
                  </a:cubicBezTo>
                  <a:cubicBezTo>
                    <a:pt x="706" y="265"/>
                    <a:pt x="709" y="223"/>
                    <a:pt x="709" y="221"/>
                  </a:cubicBezTo>
                  <a:cubicBezTo>
                    <a:pt x="709" y="214"/>
                    <a:pt x="708" y="207"/>
                    <a:pt x="708" y="200"/>
                  </a:cubicBezTo>
                  <a:cubicBezTo>
                    <a:pt x="707" y="198"/>
                    <a:pt x="707" y="198"/>
                    <a:pt x="707" y="198"/>
                  </a:cubicBezTo>
                  <a:cubicBezTo>
                    <a:pt x="702" y="198"/>
                    <a:pt x="697" y="197"/>
                    <a:pt x="691" y="196"/>
                  </a:cubicBezTo>
                  <a:cubicBezTo>
                    <a:pt x="690" y="196"/>
                    <a:pt x="687" y="197"/>
                    <a:pt x="684" y="197"/>
                  </a:cubicBezTo>
                  <a:cubicBezTo>
                    <a:pt x="683" y="197"/>
                    <a:pt x="682" y="197"/>
                    <a:pt x="681" y="197"/>
                  </a:cubicBezTo>
                  <a:cubicBezTo>
                    <a:pt x="667" y="197"/>
                    <a:pt x="663" y="190"/>
                    <a:pt x="654" y="181"/>
                  </a:cubicBezTo>
                  <a:cubicBezTo>
                    <a:pt x="651" y="178"/>
                    <a:pt x="648" y="176"/>
                    <a:pt x="646" y="176"/>
                  </a:cubicBezTo>
                  <a:cubicBezTo>
                    <a:pt x="644" y="176"/>
                    <a:pt x="642" y="178"/>
                    <a:pt x="639" y="180"/>
                  </a:cubicBezTo>
                  <a:cubicBezTo>
                    <a:pt x="639" y="181"/>
                    <a:pt x="639" y="181"/>
                    <a:pt x="639" y="181"/>
                  </a:cubicBezTo>
                  <a:cubicBezTo>
                    <a:pt x="637" y="183"/>
                    <a:pt x="634" y="183"/>
                    <a:pt x="632" y="183"/>
                  </a:cubicBezTo>
                  <a:cubicBezTo>
                    <a:pt x="629" y="183"/>
                    <a:pt x="629" y="183"/>
                    <a:pt x="629" y="183"/>
                  </a:cubicBezTo>
                  <a:cubicBezTo>
                    <a:pt x="628" y="183"/>
                    <a:pt x="628" y="183"/>
                    <a:pt x="628" y="183"/>
                  </a:cubicBezTo>
                  <a:cubicBezTo>
                    <a:pt x="622" y="183"/>
                    <a:pt x="619" y="182"/>
                    <a:pt x="616" y="182"/>
                  </a:cubicBezTo>
                  <a:cubicBezTo>
                    <a:pt x="613" y="182"/>
                    <a:pt x="611" y="182"/>
                    <a:pt x="606" y="184"/>
                  </a:cubicBezTo>
                  <a:cubicBezTo>
                    <a:pt x="606" y="184"/>
                    <a:pt x="606" y="184"/>
                    <a:pt x="606" y="184"/>
                  </a:cubicBezTo>
                  <a:cubicBezTo>
                    <a:pt x="600" y="186"/>
                    <a:pt x="596" y="188"/>
                    <a:pt x="593" y="191"/>
                  </a:cubicBezTo>
                  <a:cubicBezTo>
                    <a:pt x="591" y="193"/>
                    <a:pt x="591" y="193"/>
                    <a:pt x="591" y="193"/>
                  </a:cubicBezTo>
                  <a:cubicBezTo>
                    <a:pt x="589" y="194"/>
                    <a:pt x="586" y="196"/>
                    <a:pt x="583" y="196"/>
                  </a:cubicBezTo>
                  <a:cubicBezTo>
                    <a:pt x="576" y="196"/>
                    <a:pt x="568" y="188"/>
                    <a:pt x="561" y="184"/>
                  </a:cubicBezTo>
                  <a:cubicBezTo>
                    <a:pt x="558" y="182"/>
                    <a:pt x="554" y="179"/>
                    <a:pt x="551" y="178"/>
                  </a:cubicBezTo>
                  <a:cubicBezTo>
                    <a:pt x="549" y="178"/>
                    <a:pt x="549" y="178"/>
                    <a:pt x="549" y="178"/>
                  </a:cubicBezTo>
                  <a:cubicBezTo>
                    <a:pt x="549" y="177"/>
                    <a:pt x="549" y="177"/>
                    <a:pt x="549" y="177"/>
                  </a:cubicBezTo>
                  <a:cubicBezTo>
                    <a:pt x="543" y="177"/>
                    <a:pt x="542" y="192"/>
                    <a:pt x="538" y="195"/>
                  </a:cubicBezTo>
                  <a:cubicBezTo>
                    <a:pt x="538" y="195"/>
                    <a:pt x="538" y="195"/>
                    <a:pt x="538" y="195"/>
                  </a:cubicBezTo>
                  <a:cubicBezTo>
                    <a:pt x="536" y="195"/>
                    <a:pt x="536" y="195"/>
                    <a:pt x="536" y="195"/>
                  </a:cubicBezTo>
                  <a:cubicBezTo>
                    <a:pt x="534" y="195"/>
                    <a:pt x="532" y="194"/>
                    <a:pt x="530" y="193"/>
                  </a:cubicBezTo>
                  <a:cubicBezTo>
                    <a:pt x="528" y="191"/>
                    <a:pt x="526" y="190"/>
                    <a:pt x="524" y="188"/>
                  </a:cubicBezTo>
                  <a:cubicBezTo>
                    <a:pt x="521" y="186"/>
                    <a:pt x="519" y="184"/>
                    <a:pt x="516" y="183"/>
                  </a:cubicBezTo>
                  <a:cubicBezTo>
                    <a:pt x="513" y="181"/>
                    <a:pt x="511" y="180"/>
                    <a:pt x="508" y="180"/>
                  </a:cubicBezTo>
                  <a:cubicBezTo>
                    <a:pt x="507" y="180"/>
                    <a:pt x="507" y="180"/>
                    <a:pt x="507" y="180"/>
                  </a:cubicBezTo>
                  <a:cubicBezTo>
                    <a:pt x="507" y="180"/>
                    <a:pt x="507" y="180"/>
                    <a:pt x="507" y="180"/>
                  </a:cubicBezTo>
                  <a:cubicBezTo>
                    <a:pt x="501" y="181"/>
                    <a:pt x="498" y="182"/>
                    <a:pt x="495" y="182"/>
                  </a:cubicBezTo>
                  <a:cubicBezTo>
                    <a:pt x="493" y="182"/>
                    <a:pt x="492" y="181"/>
                    <a:pt x="489" y="178"/>
                  </a:cubicBezTo>
                  <a:cubicBezTo>
                    <a:pt x="488" y="177"/>
                    <a:pt x="487" y="175"/>
                    <a:pt x="485" y="173"/>
                  </a:cubicBezTo>
                  <a:cubicBezTo>
                    <a:pt x="480" y="167"/>
                    <a:pt x="479" y="164"/>
                    <a:pt x="469" y="163"/>
                  </a:cubicBezTo>
                  <a:cubicBezTo>
                    <a:pt x="468" y="163"/>
                    <a:pt x="468" y="163"/>
                    <a:pt x="468" y="163"/>
                  </a:cubicBezTo>
                  <a:cubicBezTo>
                    <a:pt x="467" y="163"/>
                    <a:pt x="466" y="163"/>
                    <a:pt x="465" y="163"/>
                  </a:cubicBezTo>
                  <a:cubicBezTo>
                    <a:pt x="463" y="163"/>
                    <a:pt x="462" y="163"/>
                    <a:pt x="461" y="163"/>
                  </a:cubicBezTo>
                  <a:cubicBezTo>
                    <a:pt x="458" y="163"/>
                    <a:pt x="458" y="163"/>
                    <a:pt x="458" y="163"/>
                  </a:cubicBezTo>
                  <a:cubicBezTo>
                    <a:pt x="457" y="163"/>
                    <a:pt x="456" y="163"/>
                    <a:pt x="454" y="163"/>
                  </a:cubicBezTo>
                  <a:cubicBezTo>
                    <a:pt x="452" y="163"/>
                    <a:pt x="452" y="163"/>
                    <a:pt x="452" y="163"/>
                  </a:cubicBezTo>
                  <a:cubicBezTo>
                    <a:pt x="447" y="163"/>
                    <a:pt x="442" y="163"/>
                    <a:pt x="437" y="160"/>
                  </a:cubicBezTo>
                  <a:cubicBezTo>
                    <a:pt x="426" y="155"/>
                    <a:pt x="423" y="152"/>
                    <a:pt x="414" y="145"/>
                  </a:cubicBezTo>
                  <a:cubicBezTo>
                    <a:pt x="413" y="144"/>
                    <a:pt x="406" y="144"/>
                    <a:pt x="404" y="144"/>
                  </a:cubicBezTo>
                  <a:cubicBezTo>
                    <a:pt x="397" y="143"/>
                    <a:pt x="389" y="140"/>
                    <a:pt x="383" y="135"/>
                  </a:cubicBezTo>
                  <a:cubicBezTo>
                    <a:pt x="383" y="134"/>
                    <a:pt x="379" y="131"/>
                    <a:pt x="379" y="129"/>
                  </a:cubicBezTo>
                  <a:cubicBezTo>
                    <a:pt x="382" y="2"/>
                    <a:pt x="382" y="2"/>
                    <a:pt x="382" y="2"/>
                  </a:cubicBezTo>
                  <a:lnTo>
                    <a:pt x="226"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6" name="Freeform 17">
              <a:extLst>
                <a:ext uri="{FF2B5EF4-FFF2-40B4-BE49-F238E27FC236}">
                  <a16:creationId xmlns:a16="http://schemas.microsoft.com/office/drawing/2014/main" id="{6CCD6F85-CF4D-059D-7DFB-C7F784B669A3}"/>
                </a:ext>
              </a:extLst>
            </p:cNvPr>
            <p:cNvSpPr>
              <a:spLocks/>
            </p:cNvSpPr>
            <p:nvPr/>
          </p:nvSpPr>
          <p:spPr bwMode="auto">
            <a:xfrm>
              <a:off x="4816278" y="4091276"/>
              <a:ext cx="719307" cy="657298"/>
            </a:xfrm>
            <a:custGeom>
              <a:avLst/>
              <a:gdLst>
                <a:gd name="T0" fmla="*/ 229 w 260"/>
                <a:gd name="T1" fmla="*/ 0 h 237"/>
                <a:gd name="T2" fmla="*/ 120 w 260"/>
                <a:gd name="T3" fmla="*/ 7 h 237"/>
                <a:gd name="T4" fmla="*/ 0 w 260"/>
                <a:gd name="T5" fmla="*/ 12 h 237"/>
                <a:gd name="T6" fmla="*/ 4 w 260"/>
                <a:gd name="T7" fmla="*/ 32 h 237"/>
                <a:gd name="T8" fmla="*/ 9 w 260"/>
                <a:gd name="T9" fmla="*/ 59 h 237"/>
                <a:gd name="T10" fmla="*/ 11 w 260"/>
                <a:gd name="T11" fmla="*/ 194 h 237"/>
                <a:gd name="T12" fmla="*/ 19 w 260"/>
                <a:gd name="T13" fmla="*/ 196 h 237"/>
                <a:gd name="T14" fmla="*/ 32 w 260"/>
                <a:gd name="T15" fmla="*/ 197 h 237"/>
                <a:gd name="T16" fmla="*/ 36 w 260"/>
                <a:gd name="T17" fmla="*/ 213 h 237"/>
                <a:gd name="T18" fmla="*/ 37 w 260"/>
                <a:gd name="T19" fmla="*/ 226 h 237"/>
                <a:gd name="T20" fmla="*/ 36 w 260"/>
                <a:gd name="T21" fmla="*/ 237 h 237"/>
                <a:gd name="T22" fmla="*/ 196 w 260"/>
                <a:gd name="T23" fmla="*/ 231 h 237"/>
                <a:gd name="T24" fmla="*/ 196 w 260"/>
                <a:gd name="T25" fmla="*/ 231 h 237"/>
                <a:gd name="T26" fmla="*/ 192 w 260"/>
                <a:gd name="T27" fmla="*/ 208 h 237"/>
                <a:gd name="T28" fmla="*/ 191 w 260"/>
                <a:gd name="T29" fmla="*/ 197 h 237"/>
                <a:gd name="T30" fmla="*/ 191 w 260"/>
                <a:gd name="T31" fmla="*/ 196 h 237"/>
                <a:gd name="T32" fmla="*/ 203 w 260"/>
                <a:gd name="T33" fmla="*/ 155 h 237"/>
                <a:gd name="T34" fmla="*/ 213 w 260"/>
                <a:gd name="T35" fmla="*/ 136 h 237"/>
                <a:gd name="T36" fmla="*/ 219 w 260"/>
                <a:gd name="T37" fmla="*/ 130 h 237"/>
                <a:gd name="T38" fmla="*/ 226 w 260"/>
                <a:gd name="T39" fmla="*/ 103 h 237"/>
                <a:gd name="T40" fmla="*/ 246 w 260"/>
                <a:gd name="T41" fmla="*/ 72 h 237"/>
                <a:gd name="T42" fmla="*/ 260 w 260"/>
                <a:gd name="T43" fmla="*/ 39 h 237"/>
                <a:gd name="T44" fmla="*/ 257 w 260"/>
                <a:gd name="T45" fmla="*/ 33 h 237"/>
                <a:gd name="T46" fmla="*/ 255 w 260"/>
                <a:gd name="T47" fmla="*/ 33 h 237"/>
                <a:gd name="T48" fmla="*/ 235 w 260"/>
                <a:gd name="T49" fmla="*/ 32 h 237"/>
                <a:gd name="T50" fmla="*/ 225 w 260"/>
                <a:gd name="T51" fmla="*/ 26 h 237"/>
                <a:gd name="T52" fmla="*/ 232 w 260"/>
                <a:gd name="T53" fmla="*/ 14 h 237"/>
                <a:gd name="T54" fmla="*/ 239 w 260"/>
                <a:gd name="T55" fmla="*/ 8 h 237"/>
                <a:gd name="T56" fmla="*/ 240 w 260"/>
                <a:gd name="T57" fmla="*/ 6 h 237"/>
                <a:gd name="T58" fmla="*/ 229 w 260"/>
                <a:gd name="T59"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0" h="237">
                  <a:moveTo>
                    <a:pt x="229" y="0"/>
                  </a:moveTo>
                  <a:cubicBezTo>
                    <a:pt x="222" y="1"/>
                    <a:pt x="138" y="7"/>
                    <a:pt x="120" y="7"/>
                  </a:cubicBezTo>
                  <a:cubicBezTo>
                    <a:pt x="104" y="7"/>
                    <a:pt x="18" y="11"/>
                    <a:pt x="0" y="12"/>
                  </a:cubicBezTo>
                  <a:cubicBezTo>
                    <a:pt x="4" y="32"/>
                    <a:pt x="4" y="32"/>
                    <a:pt x="4" y="32"/>
                  </a:cubicBezTo>
                  <a:cubicBezTo>
                    <a:pt x="7" y="44"/>
                    <a:pt x="9" y="58"/>
                    <a:pt x="9" y="59"/>
                  </a:cubicBezTo>
                  <a:cubicBezTo>
                    <a:pt x="11" y="194"/>
                    <a:pt x="11" y="194"/>
                    <a:pt x="11" y="194"/>
                  </a:cubicBezTo>
                  <a:cubicBezTo>
                    <a:pt x="19" y="196"/>
                    <a:pt x="19" y="196"/>
                    <a:pt x="19" y="196"/>
                  </a:cubicBezTo>
                  <a:cubicBezTo>
                    <a:pt x="25" y="197"/>
                    <a:pt x="31" y="197"/>
                    <a:pt x="32" y="197"/>
                  </a:cubicBezTo>
                  <a:cubicBezTo>
                    <a:pt x="37" y="197"/>
                    <a:pt x="36" y="210"/>
                    <a:pt x="36" y="213"/>
                  </a:cubicBezTo>
                  <a:cubicBezTo>
                    <a:pt x="37" y="219"/>
                    <a:pt x="37" y="226"/>
                    <a:pt x="37" y="226"/>
                  </a:cubicBezTo>
                  <a:cubicBezTo>
                    <a:pt x="36" y="237"/>
                    <a:pt x="36" y="237"/>
                    <a:pt x="36" y="237"/>
                  </a:cubicBezTo>
                  <a:cubicBezTo>
                    <a:pt x="196" y="231"/>
                    <a:pt x="196" y="231"/>
                    <a:pt x="196" y="231"/>
                  </a:cubicBezTo>
                  <a:cubicBezTo>
                    <a:pt x="196" y="231"/>
                    <a:pt x="196" y="231"/>
                    <a:pt x="196" y="231"/>
                  </a:cubicBezTo>
                  <a:cubicBezTo>
                    <a:pt x="194" y="220"/>
                    <a:pt x="192" y="209"/>
                    <a:pt x="192" y="208"/>
                  </a:cubicBezTo>
                  <a:cubicBezTo>
                    <a:pt x="192" y="207"/>
                    <a:pt x="191" y="203"/>
                    <a:pt x="191" y="197"/>
                  </a:cubicBezTo>
                  <a:cubicBezTo>
                    <a:pt x="191" y="196"/>
                    <a:pt x="191" y="196"/>
                    <a:pt x="191" y="196"/>
                  </a:cubicBezTo>
                  <a:cubicBezTo>
                    <a:pt x="191" y="179"/>
                    <a:pt x="198" y="170"/>
                    <a:pt x="203" y="155"/>
                  </a:cubicBezTo>
                  <a:cubicBezTo>
                    <a:pt x="205" y="149"/>
                    <a:pt x="207" y="137"/>
                    <a:pt x="213" y="136"/>
                  </a:cubicBezTo>
                  <a:cubicBezTo>
                    <a:pt x="216" y="135"/>
                    <a:pt x="217" y="134"/>
                    <a:pt x="219" y="130"/>
                  </a:cubicBezTo>
                  <a:cubicBezTo>
                    <a:pt x="222" y="123"/>
                    <a:pt x="221" y="108"/>
                    <a:pt x="226" y="103"/>
                  </a:cubicBezTo>
                  <a:cubicBezTo>
                    <a:pt x="230" y="97"/>
                    <a:pt x="246" y="79"/>
                    <a:pt x="246" y="72"/>
                  </a:cubicBezTo>
                  <a:cubicBezTo>
                    <a:pt x="246" y="64"/>
                    <a:pt x="255" y="46"/>
                    <a:pt x="260" y="39"/>
                  </a:cubicBezTo>
                  <a:cubicBezTo>
                    <a:pt x="257" y="33"/>
                    <a:pt x="257" y="33"/>
                    <a:pt x="257" y="33"/>
                  </a:cubicBezTo>
                  <a:cubicBezTo>
                    <a:pt x="255" y="33"/>
                    <a:pt x="255" y="33"/>
                    <a:pt x="255" y="33"/>
                  </a:cubicBezTo>
                  <a:cubicBezTo>
                    <a:pt x="250" y="33"/>
                    <a:pt x="243" y="32"/>
                    <a:pt x="235" y="32"/>
                  </a:cubicBezTo>
                  <a:cubicBezTo>
                    <a:pt x="228" y="31"/>
                    <a:pt x="225" y="29"/>
                    <a:pt x="225" y="26"/>
                  </a:cubicBezTo>
                  <a:cubicBezTo>
                    <a:pt x="225" y="23"/>
                    <a:pt x="228" y="18"/>
                    <a:pt x="232" y="14"/>
                  </a:cubicBezTo>
                  <a:cubicBezTo>
                    <a:pt x="234" y="12"/>
                    <a:pt x="236" y="10"/>
                    <a:pt x="239" y="8"/>
                  </a:cubicBezTo>
                  <a:cubicBezTo>
                    <a:pt x="240" y="6"/>
                    <a:pt x="240" y="6"/>
                    <a:pt x="240" y="6"/>
                  </a:cubicBezTo>
                  <a:cubicBezTo>
                    <a:pt x="240" y="3"/>
                    <a:pt x="231" y="1"/>
                    <a:pt x="229"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7" name="Freeform 58">
              <a:extLst>
                <a:ext uri="{FF2B5EF4-FFF2-40B4-BE49-F238E27FC236}">
                  <a16:creationId xmlns:a16="http://schemas.microsoft.com/office/drawing/2014/main" id="{E215B7DD-6609-E86E-3206-BE6E1CD14788}"/>
                </a:ext>
              </a:extLst>
            </p:cNvPr>
            <p:cNvSpPr>
              <a:spLocks/>
            </p:cNvSpPr>
            <p:nvPr/>
          </p:nvSpPr>
          <p:spPr bwMode="auto">
            <a:xfrm>
              <a:off x="3566793" y="4007564"/>
              <a:ext cx="1263438" cy="627844"/>
            </a:xfrm>
            <a:custGeom>
              <a:avLst/>
              <a:gdLst>
                <a:gd name="T0" fmla="*/ 1 w 457"/>
                <a:gd name="T1" fmla="*/ 0 h 226"/>
                <a:gd name="T2" fmla="*/ 0 w 457"/>
                <a:gd name="T3" fmla="*/ 29 h 226"/>
                <a:gd name="T4" fmla="*/ 159 w 457"/>
                <a:gd name="T5" fmla="*/ 31 h 226"/>
                <a:gd name="T6" fmla="*/ 162 w 457"/>
                <a:gd name="T7" fmla="*/ 34 h 226"/>
                <a:gd name="T8" fmla="*/ 159 w 457"/>
                <a:gd name="T9" fmla="*/ 163 h 226"/>
                <a:gd name="T10" fmla="*/ 162 w 457"/>
                <a:gd name="T11" fmla="*/ 165 h 226"/>
                <a:gd name="T12" fmla="*/ 163 w 457"/>
                <a:gd name="T13" fmla="*/ 166 h 226"/>
                <a:gd name="T14" fmla="*/ 192 w 457"/>
                <a:gd name="T15" fmla="*/ 175 h 226"/>
                <a:gd name="T16" fmla="*/ 225 w 457"/>
                <a:gd name="T17" fmla="*/ 192 h 226"/>
                <a:gd name="T18" fmla="*/ 226 w 457"/>
                <a:gd name="T19" fmla="*/ 192 h 226"/>
                <a:gd name="T20" fmla="*/ 239 w 457"/>
                <a:gd name="T21" fmla="*/ 192 h 226"/>
                <a:gd name="T22" fmla="*/ 247 w 457"/>
                <a:gd name="T23" fmla="*/ 192 h 226"/>
                <a:gd name="T24" fmla="*/ 261 w 457"/>
                <a:gd name="T25" fmla="*/ 200 h 226"/>
                <a:gd name="T26" fmla="*/ 262 w 457"/>
                <a:gd name="T27" fmla="*/ 202 h 226"/>
                <a:gd name="T28" fmla="*/ 269 w 457"/>
                <a:gd name="T29" fmla="*/ 211 h 226"/>
                <a:gd name="T30" fmla="*/ 270 w 457"/>
                <a:gd name="T31" fmla="*/ 211 h 226"/>
                <a:gd name="T32" fmla="*/ 282 w 457"/>
                <a:gd name="T33" fmla="*/ 209 h 226"/>
                <a:gd name="T34" fmla="*/ 287 w 457"/>
                <a:gd name="T35" fmla="*/ 210 h 226"/>
                <a:gd name="T36" fmla="*/ 309 w 457"/>
                <a:gd name="T37" fmla="*/ 223 h 226"/>
                <a:gd name="T38" fmla="*/ 309 w 457"/>
                <a:gd name="T39" fmla="*/ 223 h 226"/>
                <a:gd name="T40" fmla="*/ 322 w 457"/>
                <a:gd name="T41" fmla="*/ 207 h 226"/>
                <a:gd name="T42" fmla="*/ 326 w 457"/>
                <a:gd name="T43" fmla="*/ 207 h 226"/>
                <a:gd name="T44" fmla="*/ 332 w 457"/>
                <a:gd name="T45" fmla="*/ 210 h 226"/>
                <a:gd name="T46" fmla="*/ 350 w 457"/>
                <a:gd name="T47" fmla="*/ 222 h 226"/>
                <a:gd name="T48" fmla="*/ 357 w 457"/>
                <a:gd name="T49" fmla="*/ 225 h 226"/>
                <a:gd name="T50" fmla="*/ 361 w 457"/>
                <a:gd name="T51" fmla="*/ 223 h 226"/>
                <a:gd name="T52" fmla="*/ 363 w 457"/>
                <a:gd name="T53" fmla="*/ 221 h 226"/>
                <a:gd name="T54" fmla="*/ 378 w 457"/>
                <a:gd name="T55" fmla="*/ 213 h 226"/>
                <a:gd name="T56" fmla="*/ 390 w 457"/>
                <a:gd name="T57" fmla="*/ 211 h 226"/>
                <a:gd name="T58" fmla="*/ 392 w 457"/>
                <a:gd name="T59" fmla="*/ 211 h 226"/>
                <a:gd name="T60" fmla="*/ 393 w 457"/>
                <a:gd name="T61" fmla="*/ 211 h 226"/>
                <a:gd name="T62" fmla="*/ 402 w 457"/>
                <a:gd name="T63" fmla="*/ 212 h 226"/>
                <a:gd name="T64" fmla="*/ 408 w 457"/>
                <a:gd name="T65" fmla="*/ 211 h 226"/>
                <a:gd name="T66" fmla="*/ 420 w 457"/>
                <a:gd name="T67" fmla="*/ 205 h 226"/>
                <a:gd name="T68" fmla="*/ 428 w 457"/>
                <a:gd name="T69" fmla="*/ 208 h 226"/>
                <a:gd name="T70" fmla="*/ 447 w 457"/>
                <a:gd name="T71" fmla="*/ 225 h 226"/>
                <a:gd name="T72" fmla="*/ 456 w 457"/>
                <a:gd name="T73" fmla="*/ 226 h 226"/>
                <a:gd name="T74" fmla="*/ 457 w 457"/>
                <a:gd name="T75" fmla="*/ 226 h 226"/>
                <a:gd name="T76" fmla="*/ 455 w 457"/>
                <a:gd name="T77" fmla="*/ 89 h 226"/>
                <a:gd name="T78" fmla="*/ 445 w 457"/>
                <a:gd name="T79" fmla="*/ 40 h 226"/>
                <a:gd name="T80" fmla="*/ 445 w 457"/>
                <a:gd name="T81" fmla="*/ 39 h 226"/>
                <a:gd name="T82" fmla="*/ 445 w 457"/>
                <a:gd name="T83" fmla="*/ 39 h 226"/>
                <a:gd name="T84" fmla="*/ 444 w 457"/>
                <a:gd name="T85" fmla="*/ 38 h 226"/>
                <a:gd name="T86" fmla="*/ 440 w 457"/>
                <a:gd name="T87" fmla="*/ 5 h 226"/>
                <a:gd name="T88" fmla="*/ 300 w 457"/>
                <a:gd name="T89" fmla="*/ 10 h 226"/>
                <a:gd name="T90" fmla="*/ 56 w 457"/>
                <a:gd name="T91" fmla="*/ 2 h 226"/>
                <a:gd name="T92" fmla="*/ 1 w 457"/>
                <a:gd name="T9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7" h="226">
                  <a:moveTo>
                    <a:pt x="1" y="0"/>
                  </a:moveTo>
                  <a:cubicBezTo>
                    <a:pt x="0" y="29"/>
                    <a:pt x="0" y="29"/>
                    <a:pt x="0" y="29"/>
                  </a:cubicBezTo>
                  <a:cubicBezTo>
                    <a:pt x="159" y="31"/>
                    <a:pt x="159" y="31"/>
                    <a:pt x="159" y="31"/>
                  </a:cubicBezTo>
                  <a:cubicBezTo>
                    <a:pt x="161" y="31"/>
                    <a:pt x="162" y="32"/>
                    <a:pt x="162" y="34"/>
                  </a:cubicBezTo>
                  <a:cubicBezTo>
                    <a:pt x="159" y="163"/>
                    <a:pt x="159" y="163"/>
                    <a:pt x="159" y="163"/>
                  </a:cubicBezTo>
                  <a:cubicBezTo>
                    <a:pt x="162" y="165"/>
                    <a:pt x="162" y="165"/>
                    <a:pt x="162" y="165"/>
                  </a:cubicBezTo>
                  <a:cubicBezTo>
                    <a:pt x="163" y="166"/>
                    <a:pt x="163" y="166"/>
                    <a:pt x="163" y="166"/>
                  </a:cubicBezTo>
                  <a:cubicBezTo>
                    <a:pt x="175" y="175"/>
                    <a:pt x="187" y="171"/>
                    <a:pt x="192" y="175"/>
                  </a:cubicBezTo>
                  <a:cubicBezTo>
                    <a:pt x="203" y="184"/>
                    <a:pt x="211" y="192"/>
                    <a:pt x="225" y="192"/>
                  </a:cubicBezTo>
                  <a:cubicBezTo>
                    <a:pt x="226" y="192"/>
                    <a:pt x="226" y="192"/>
                    <a:pt x="226" y="192"/>
                  </a:cubicBezTo>
                  <a:cubicBezTo>
                    <a:pt x="231" y="192"/>
                    <a:pt x="235" y="192"/>
                    <a:pt x="239" y="192"/>
                  </a:cubicBezTo>
                  <a:cubicBezTo>
                    <a:pt x="242" y="192"/>
                    <a:pt x="244" y="192"/>
                    <a:pt x="247" y="192"/>
                  </a:cubicBezTo>
                  <a:cubicBezTo>
                    <a:pt x="252" y="193"/>
                    <a:pt x="256" y="195"/>
                    <a:pt x="261" y="200"/>
                  </a:cubicBezTo>
                  <a:cubicBezTo>
                    <a:pt x="262" y="202"/>
                    <a:pt x="262" y="202"/>
                    <a:pt x="262" y="202"/>
                  </a:cubicBezTo>
                  <a:cubicBezTo>
                    <a:pt x="264" y="205"/>
                    <a:pt x="267" y="208"/>
                    <a:pt x="269" y="211"/>
                  </a:cubicBezTo>
                  <a:cubicBezTo>
                    <a:pt x="270" y="211"/>
                    <a:pt x="270" y="211"/>
                    <a:pt x="270" y="211"/>
                  </a:cubicBezTo>
                  <a:cubicBezTo>
                    <a:pt x="274" y="210"/>
                    <a:pt x="278" y="209"/>
                    <a:pt x="282" y="209"/>
                  </a:cubicBezTo>
                  <a:cubicBezTo>
                    <a:pt x="284" y="209"/>
                    <a:pt x="285" y="209"/>
                    <a:pt x="287" y="210"/>
                  </a:cubicBezTo>
                  <a:cubicBezTo>
                    <a:pt x="292" y="211"/>
                    <a:pt x="303" y="218"/>
                    <a:pt x="309" y="223"/>
                  </a:cubicBezTo>
                  <a:cubicBezTo>
                    <a:pt x="309" y="223"/>
                    <a:pt x="309" y="223"/>
                    <a:pt x="309" y="223"/>
                  </a:cubicBezTo>
                  <a:cubicBezTo>
                    <a:pt x="312" y="214"/>
                    <a:pt x="315" y="207"/>
                    <a:pt x="322" y="207"/>
                  </a:cubicBezTo>
                  <a:cubicBezTo>
                    <a:pt x="323" y="207"/>
                    <a:pt x="325" y="207"/>
                    <a:pt x="326" y="207"/>
                  </a:cubicBezTo>
                  <a:cubicBezTo>
                    <a:pt x="328" y="208"/>
                    <a:pt x="330" y="209"/>
                    <a:pt x="332" y="210"/>
                  </a:cubicBezTo>
                  <a:cubicBezTo>
                    <a:pt x="338" y="214"/>
                    <a:pt x="344" y="218"/>
                    <a:pt x="350" y="222"/>
                  </a:cubicBezTo>
                  <a:cubicBezTo>
                    <a:pt x="353" y="224"/>
                    <a:pt x="355" y="225"/>
                    <a:pt x="357" y="225"/>
                  </a:cubicBezTo>
                  <a:cubicBezTo>
                    <a:pt x="359" y="225"/>
                    <a:pt x="360" y="224"/>
                    <a:pt x="361" y="223"/>
                  </a:cubicBezTo>
                  <a:cubicBezTo>
                    <a:pt x="363" y="221"/>
                    <a:pt x="363" y="221"/>
                    <a:pt x="363" y="221"/>
                  </a:cubicBezTo>
                  <a:cubicBezTo>
                    <a:pt x="367" y="218"/>
                    <a:pt x="372" y="215"/>
                    <a:pt x="378" y="213"/>
                  </a:cubicBezTo>
                  <a:cubicBezTo>
                    <a:pt x="382" y="211"/>
                    <a:pt x="386" y="211"/>
                    <a:pt x="390" y="211"/>
                  </a:cubicBezTo>
                  <a:cubicBezTo>
                    <a:pt x="392" y="211"/>
                    <a:pt x="392" y="211"/>
                    <a:pt x="392" y="211"/>
                  </a:cubicBezTo>
                  <a:cubicBezTo>
                    <a:pt x="393" y="211"/>
                    <a:pt x="393" y="211"/>
                    <a:pt x="393" y="211"/>
                  </a:cubicBezTo>
                  <a:cubicBezTo>
                    <a:pt x="396" y="211"/>
                    <a:pt x="398" y="212"/>
                    <a:pt x="402" y="212"/>
                  </a:cubicBezTo>
                  <a:cubicBezTo>
                    <a:pt x="407" y="212"/>
                    <a:pt x="408" y="211"/>
                    <a:pt x="408" y="211"/>
                  </a:cubicBezTo>
                  <a:cubicBezTo>
                    <a:pt x="413" y="207"/>
                    <a:pt x="417" y="205"/>
                    <a:pt x="420" y="205"/>
                  </a:cubicBezTo>
                  <a:cubicBezTo>
                    <a:pt x="423" y="205"/>
                    <a:pt x="425" y="206"/>
                    <a:pt x="428" y="208"/>
                  </a:cubicBezTo>
                  <a:cubicBezTo>
                    <a:pt x="434" y="213"/>
                    <a:pt x="440" y="222"/>
                    <a:pt x="447" y="225"/>
                  </a:cubicBezTo>
                  <a:cubicBezTo>
                    <a:pt x="449" y="226"/>
                    <a:pt x="453" y="226"/>
                    <a:pt x="456" y="226"/>
                  </a:cubicBezTo>
                  <a:cubicBezTo>
                    <a:pt x="457" y="226"/>
                    <a:pt x="457" y="226"/>
                    <a:pt x="457" y="226"/>
                  </a:cubicBezTo>
                  <a:cubicBezTo>
                    <a:pt x="455" y="89"/>
                    <a:pt x="455" y="89"/>
                    <a:pt x="455" y="89"/>
                  </a:cubicBezTo>
                  <a:cubicBezTo>
                    <a:pt x="455" y="88"/>
                    <a:pt x="447" y="49"/>
                    <a:pt x="445" y="40"/>
                  </a:cubicBezTo>
                  <a:cubicBezTo>
                    <a:pt x="445" y="39"/>
                    <a:pt x="445" y="39"/>
                    <a:pt x="445" y="39"/>
                  </a:cubicBezTo>
                  <a:cubicBezTo>
                    <a:pt x="445" y="39"/>
                    <a:pt x="445" y="39"/>
                    <a:pt x="445" y="39"/>
                  </a:cubicBezTo>
                  <a:cubicBezTo>
                    <a:pt x="444" y="38"/>
                    <a:pt x="444" y="38"/>
                    <a:pt x="444" y="38"/>
                  </a:cubicBezTo>
                  <a:cubicBezTo>
                    <a:pt x="440" y="5"/>
                    <a:pt x="440" y="5"/>
                    <a:pt x="440" y="5"/>
                  </a:cubicBezTo>
                  <a:cubicBezTo>
                    <a:pt x="429" y="6"/>
                    <a:pt x="391" y="10"/>
                    <a:pt x="300" y="10"/>
                  </a:cubicBezTo>
                  <a:cubicBezTo>
                    <a:pt x="190" y="10"/>
                    <a:pt x="56" y="2"/>
                    <a:pt x="56" y="2"/>
                  </a:cubicBezTo>
                  <a:cubicBezTo>
                    <a:pt x="49" y="2"/>
                    <a:pt x="20" y="1"/>
                    <a:pt x="1" y="0"/>
                  </a:cubicBezTo>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panose="020B0503030403020204" pitchFamily="34" charset="0"/>
                <a:ea typeface="+mn-ea"/>
                <a:cs typeface="+mn-cs"/>
              </a:endParaRPr>
            </a:p>
          </p:txBody>
        </p:sp>
        <p:sp>
          <p:nvSpPr>
            <p:cNvPr id="118" name="Freeform 59">
              <a:extLst>
                <a:ext uri="{FF2B5EF4-FFF2-40B4-BE49-F238E27FC236}">
                  <a16:creationId xmlns:a16="http://schemas.microsoft.com/office/drawing/2014/main" id="{0BBC7A93-CC9F-89EF-5CB2-EE07C5DF56B5}"/>
                </a:ext>
              </a:extLst>
            </p:cNvPr>
            <p:cNvSpPr>
              <a:spLocks/>
            </p:cNvSpPr>
            <p:nvPr/>
          </p:nvSpPr>
          <p:spPr bwMode="auto">
            <a:xfrm>
              <a:off x="2551391" y="3928501"/>
              <a:ext cx="1001449" cy="1054156"/>
            </a:xfrm>
            <a:custGeom>
              <a:avLst/>
              <a:gdLst>
                <a:gd name="T0" fmla="*/ 47 w 362"/>
                <a:gd name="T1" fmla="*/ 0 h 380"/>
                <a:gd name="T2" fmla="*/ 0 w 362"/>
                <a:gd name="T3" fmla="*/ 375 h 380"/>
                <a:gd name="T4" fmla="*/ 9 w 362"/>
                <a:gd name="T5" fmla="*/ 377 h 380"/>
                <a:gd name="T6" fmla="*/ 16 w 362"/>
                <a:gd name="T7" fmla="*/ 378 h 380"/>
                <a:gd name="T8" fmla="*/ 16 w 362"/>
                <a:gd name="T9" fmla="*/ 378 h 380"/>
                <a:gd name="T10" fmla="*/ 17 w 362"/>
                <a:gd name="T11" fmla="*/ 378 h 380"/>
                <a:gd name="T12" fmla="*/ 17 w 362"/>
                <a:gd name="T13" fmla="*/ 378 h 380"/>
                <a:gd name="T14" fmla="*/ 17 w 362"/>
                <a:gd name="T15" fmla="*/ 378 h 380"/>
                <a:gd name="T16" fmla="*/ 29 w 362"/>
                <a:gd name="T17" fmla="*/ 380 h 380"/>
                <a:gd name="T18" fmla="*/ 49 w 362"/>
                <a:gd name="T19" fmla="*/ 376 h 380"/>
                <a:gd name="T20" fmla="*/ 49 w 362"/>
                <a:gd name="T21" fmla="*/ 376 h 380"/>
                <a:gd name="T22" fmla="*/ 52 w 362"/>
                <a:gd name="T23" fmla="*/ 353 h 380"/>
                <a:gd name="T24" fmla="*/ 75 w 362"/>
                <a:gd name="T25" fmla="*/ 353 h 380"/>
                <a:gd name="T26" fmla="*/ 120 w 362"/>
                <a:gd name="T27" fmla="*/ 353 h 380"/>
                <a:gd name="T28" fmla="*/ 125 w 362"/>
                <a:gd name="T29" fmla="*/ 353 h 380"/>
                <a:gd name="T30" fmla="*/ 135 w 362"/>
                <a:gd name="T31" fmla="*/ 354 h 380"/>
                <a:gd name="T32" fmla="*/ 137 w 362"/>
                <a:gd name="T33" fmla="*/ 343 h 380"/>
                <a:gd name="T34" fmla="*/ 140 w 362"/>
                <a:gd name="T35" fmla="*/ 341 h 380"/>
                <a:gd name="T36" fmla="*/ 140 w 362"/>
                <a:gd name="T37" fmla="*/ 341 h 380"/>
                <a:gd name="T38" fmla="*/ 342 w 362"/>
                <a:gd name="T39" fmla="*/ 355 h 380"/>
                <a:gd name="T40" fmla="*/ 361 w 362"/>
                <a:gd name="T41" fmla="*/ 61 h 380"/>
                <a:gd name="T42" fmla="*/ 362 w 362"/>
                <a:gd name="T43" fmla="*/ 29 h 380"/>
                <a:gd name="T44" fmla="*/ 352 w 362"/>
                <a:gd name="T45" fmla="*/ 28 h 380"/>
                <a:gd name="T46" fmla="*/ 290 w 362"/>
                <a:gd name="T47" fmla="*/ 24 h 380"/>
                <a:gd name="T48" fmla="*/ 68 w 362"/>
                <a:gd name="T49" fmla="*/ 3 h 380"/>
                <a:gd name="T50" fmla="*/ 47 w 362"/>
                <a:gd name="T51"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2" h="380">
                  <a:moveTo>
                    <a:pt x="47" y="0"/>
                  </a:moveTo>
                  <a:cubicBezTo>
                    <a:pt x="0" y="375"/>
                    <a:pt x="0" y="375"/>
                    <a:pt x="0" y="375"/>
                  </a:cubicBezTo>
                  <a:cubicBezTo>
                    <a:pt x="3" y="376"/>
                    <a:pt x="6" y="376"/>
                    <a:pt x="9" y="377"/>
                  </a:cubicBezTo>
                  <a:cubicBezTo>
                    <a:pt x="12" y="377"/>
                    <a:pt x="15" y="378"/>
                    <a:pt x="16" y="378"/>
                  </a:cubicBezTo>
                  <a:cubicBezTo>
                    <a:pt x="16" y="378"/>
                    <a:pt x="16" y="378"/>
                    <a:pt x="16" y="378"/>
                  </a:cubicBezTo>
                  <a:cubicBezTo>
                    <a:pt x="17" y="378"/>
                    <a:pt x="17" y="378"/>
                    <a:pt x="17" y="378"/>
                  </a:cubicBezTo>
                  <a:cubicBezTo>
                    <a:pt x="17" y="378"/>
                    <a:pt x="17" y="378"/>
                    <a:pt x="17" y="378"/>
                  </a:cubicBezTo>
                  <a:cubicBezTo>
                    <a:pt x="17" y="378"/>
                    <a:pt x="17" y="378"/>
                    <a:pt x="17" y="378"/>
                  </a:cubicBezTo>
                  <a:cubicBezTo>
                    <a:pt x="21" y="379"/>
                    <a:pt x="25" y="380"/>
                    <a:pt x="29" y="380"/>
                  </a:cubicBezTo>
                  <a:cubicBezTo>
                    <a:pt x="40" y="380"/>
                    <a:pt x="49" y="376"/>
                    <a:pt x="49" y="376"/>
                  </a:cubicBezTo>
                  <a:cubicBezTo>
                    <a:pt x="49" y="376"/>
                    <a:pt x="49" y="376"/>
                    <a:pt x="49" y="376"/>
                  </a:cubicBezTo>
                  <a:cubicBezTo>
                    <a:pt x="52" y="353"/>
                    <a:pt x="52" y="353"/>
                    <a:pt x="52" y="353"/>
                  </a:cubicBezTo>
                  <a:cubicBezTo>
                    <a:pt x="75" y="353"/>
                    <a:pt x="75" y="353"/>
                    <a:pt x="75" y="353"/>
                  </a:cubicBezTo>
                  <a:cubicBezTo>
                    <a:pt x="120" y="353"/>
                    <a:pt x="120" y="353"/>
                    <a:pt x="120" y="353"/>
                  </a:cubicBezTo>
                  <a:cubicBezTo>
                    <a:pt x="122" y="353"/>
                    <a:pt x="123" y="353"/>
                    <a:pt x="125" y="353"/>
                  </a:cubicBezTo>
                  <a:cubicBezTo>
                    <a:pt x="129" y="353"/>
                    <a:pt x="132" y="353"/>
                    <a:pt x="135" y="354"/>
                  </a:cubicBezTo>
                  <a:cubicBezTo>
                    <a:pt x="137" y="343"/>
                    <a:pt x="137" y="343"/>
                    <a:pt x="137" y="343"/>
                  </a:cubicBezTo>
                  <a:cubicBezTo>
                    <a:pt x="137" y="342"/>
                    <a:pt x="139" y="341"/>
                    <a:pt x="140" y="341"/>
                  </a:cubicBezTo>
                  <a:cubicBezTo>
                    <a:pt x="140" y="341"/>
                    <a:pt x="140" y="341"/>
                    <a:pt x="140" y="341"/>
                  </a:cubicBezTo>
                  <a:cubicBezTo>
                    <a:pt x="342" y="355"/>
                    <a:pt x="342" y="355"/>
                    <a:pt x="342" y="355"/>
                  </a:cubicBezTo>
                  <a:cubicBezTo>
                    <a:pt x="361" y="61"/>
                    <a:pt x="361" y="61"/>
                    <a:pt x="361" y="61"/>
                  </a:cubicBezTo>
                  <a:cubicBezTo>
                    <a:pt x="362" y="29"/>
                    <a:pt x="362" y="29"/>
                    <a:pt x="362" y="29"/>
                  </a:cubicBezTo>
                  <a:cubicBezTo>
                    <a:pt x="357" y="29"/>
                    <a:pt x="353" y="29"/>
                    <a:pt x="352" y="28"/>
                  </a:cubicBezTo>
                  <a:cubicBezTo>
                    <a:pt x="348" y="28"/>
                    <a:pt x="290" y="24"/>
                    <a:pt x="290" y="24"/>
                  </a:cubicBezTo>
                  <a:cubicBezTo>
                    <a:pt x="68" y="3"/>
                    <a:pt x="68" y="3"/>
                    <a:pt x="68" y="3"/>
                  </a:cubicBezTo>
                  <a:cubicBezTo>
                    <a:pt x="66" y="3"/>
                    <a:pt x="54" y="1"/>
                    <a:pt x="47" y="0"/>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ource Sans Pro" panose="020B0503030403020204" pitchFamily="34" charset="0"/>
                <a:ea typeface="+mn-ea"/>
                <a:cs typeface="+mn-cs"/>
              </a:endParaRPr>
            </a:p>
          </p:txBody>
        </p:sp>
        <p:pic>
          <p:nvPicPr>
            <p:cNvPr id="119" name="Graphic 118">
              <a:extLst>
                <a:ext uri="{FF2B5EF4-FFF2-40B4-BE49-F238E27FC236}">
                  <a16:creationId xmlns:a16="http://schemas.microsoft.com/office/drawing/2014/main" id="{1674BFD7-4620-8CD1-5F0A-BB227BB2857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7854" y="5029849"/>
              <a:ext cx="1173579" cy="1185433"/>
            </a:xfrm>
            <a:prstGeom prst="rect">
              <a:avLst/>
            </a:prstGeom>
          </p:spPr>
        </p:pic>
        <p:pic>
          <p:nvPicPr>
            <p:cNvPr id="120" name="Graphic 119">
              <a:extLst>
                <a:ext uri="{FF2B5EF4-FFF2-40B4-BE49-F238E27FC236}">
                  <a16:creationId xmlns:a16="http://schemas.microsoft.com/office/drawing/2014/main" id="{8C500C43-65E0-30AC-88EB-CDF2BC02CF0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50990" y="5549444"/>
              <a:ext cx="1118543" cy="736256"/>
            </a:xfrm>
            <a:prstGeom prst="rect">
              <a:avLst/>
            </a:prstGeom>
          </p:spPr>
        </p:pic>
      </p:grpSp>
      <p:grpSp>
        <p:nvGrpSpPr>
          <p:cNvPr id="6" name="Group 5">
            <a:extLst>
              <a:ext uri="{FF2B5EF4-FFF2-40B4-BE49-F238E27FC236}">
                <a16:creationId xmlns:a16="http://schemas.microsoft.com/office/drawing/2014/main" id="{5C821A47-7598-02E2-6870-3862133D06A1}"/>
              </a:ext>
            </a:extLst>
          </p:cNvPr>
          <p:cNvGrpSpPr/>
          <p:nvPr/>
        </p:nvGrpSpPr>
        <p:grpSpPr>
          <a:xfrm>
            <a:off x="914400" y="2654047"/>
            <a:ext cx="3392694" cy="1553565"/>
            <a:chOff x="914400" y="3205845"/>
            <a:chExt cx="3392694" cy="1553565"/>
          </a:xfrm>
        </p:grpSpPr>
        <p:sp>
          <p:nvSpPr>
            <p:cNvPr id="9" name="object 7">
              <a:extLst>
                <a:ext uri="{FF2B5EF4-FFF2-40B4-BE49-F238E27FC236}">
                  <a16:creationId xmlns:a16="http://schemas.microsoft.com/office/drawing/2014/main" id="{B95B907E-221C-87A6-19A4-A1E7D3019487}"/>
                </a:ext>
              </a:extLst>
            </p:cNvPr>
            <p:cNvSpPr/>
            <p:nvPr/>
          </p:nvSpPr>
          <p:spPr>
            <a:xfrm>
              <a:off x="914400" y="3277042"/>
              <a:ext cx="184444" cy="184444"/>
            </a:xfrm>
            <a:custGeom>
              <a:avLst/>
              <a:gdLst/>
              <a:ahLst/>
              <a:cxnLst/>
              <a:rect l="l" t="t" r="r" b="b"/>
              <a:pathLst>
                <a:path w="304164" h="304164">
                  <a:moveTo>
                    <a:pt x="151827" y="0"/>
                  </a:moveTo>
                  <a:lnTo>
                    <a:pt x="103839" y="7740"/>
                  </a:lnTo>
                  <a:lnTo>
                    <a:pt x="62160" y="29294"/>
                  </a:lnTo>
                  <a:lnTo>
                    <a:pt x="29294" y="62160"/>
                  </a:lnTo>
                  <a:lnTo>
                    <a:pt x="7740" y="103839"/>
                  </a:lnTo>
                  <a:lnTo>
                    <a:pt x="0" y="151827"/>
                  </a:lnTo>
                  <a:lnTo>
                    <a:pt x="7740" y="199816"/>
                  </a:lnTo>
                  <a:lnTo>
                    <a:pt x="29294" y="241494"/>
                  </a:lnTo>
                  <a:lnTo>
                    <a:pt x="62160" y="274361"/>
                  </a:lnTo>
                  <a:lnTo>
                    <a:pt x="103839" y="295915"/>
                  </a:lnTo>
                  <a:lnTo>
                    <a:pt x="151827" y="303655"/>
                  </a:lnTo>
                  <a:lnTo>
                    <a:pt x="199816" y="295915"/>
                  </a:lnTo>
                  <a:lnTo>
                    <a:pt x="241494" y="274361"/>
                  </a:lnTo>
                  <a:lnTo>
                    <a:pt x="274361" y="241494"/>
                  </a:lnTo>
                  <a:lnTo>
                    <a:pt x="295915" y="199816"/>
                  </a:lnTo>
                  <a:lnTo>
                    <a:pt x="303655" y="151827"/>
                  </a:lnTo>
                  <a:lnTo>
                    <a:pt x="295915" y="103839"/>
                  </a:lnTo>
                  <a:lnTo>
                    <a:pt x="274361" y="62160"/>
                  </a:lnTo>
                  <a:lnTo>
                    <a:pt x="241494" y="29294"/>
                  </a:lnTo>
                  <a:lnTo>
                    <a:pt x="199816" y="7740"/>
                  </a:lnTo>
                  <a:lnTo>
                    <a:pt x="151827" y="0"/>
                  </a:lnTo>
                  <a:close/>
                </a:path>
              </a:pathLst>
            </a:custGeom>
            <a:solidFill>
              <a:schemeClr val="accent1"/>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ource Sans Pro"/>
                <a:ea typeface="+mn-ea"/>
                <a:cs typeface="+mn-cs"/>
              </a:endParaRPr>
            </a:p>
          </p:txBody>
        </p:sp>
        <p:sp>
          <p:nvSpPr>
            <p:cNvPr id="10" name="object 8">
              <a:extLst>
                <a:ext uri="{FF2B5EF4-FFF2-40B4-BE49-F238E27FC236}">
                  <a16:creationId xmlns:a16="http://schemas.microsoft.com/office/drawing/2014/main" id="{923F1D81-7F37-117B-86E8-6F6371CFF438}"/>
                </a:ext>
              </a:extLst>
            </p:cNvPr>
            <p:cNvSpPr txBox="1"/>
            <p:nvPr/>
          </p:nvSpPr>
          <p:spPr>
            <a:xfrm>
              <a:off x="1212859" y="3205845"/>
              <a:ext cx="2976908" cy="761598"/>
            </a:xfrm>
            <a:prstGeom prst="rect">
              <a:avLst/>
            </a:prstGeom>
          </p:spPr>
          <p:txBody>
            <a:bodyPr vert="horz" wrap="square" lIns="0" tIns="10012" rIns="0" bIns="0" rtlCol="0">
              <a:spAutoFit/>
            </a:bodyPr>
            <a:lstStyle/>
            <a:p>
              <a:pPr marL="7701" marR="0" lvl="0" indent="0" algn="l" defTabSz="914400" rtl="0" eaLnBrk="1" fontAlgn="auto" latinLnBrk="0" hangingPunct="1">
                <a:lnSpc>
                  <a:spcPct val="100000"/>
                </a:lnSpc>
                <a:spcBef>
                  <a:spcPts val="79"/>
                </a:spcBef>
                <a:spcAft>
                  <a:spcPts val="0"/>
                </a:spcAft>
                <a:buClrTx/>
                <a:buSzTx/>
                <a:buFontTx/>
                <a:buNone/>
                <a:tabLst/>
                <a:defRPr/>
              </a:pPr>
              <a:r>
                <a:rPr kumimoji="0" lang="en-US" sz="1800" b="0" i="0" u="none" strike="noStrike" kern="1200" cap="none" spc="0" normalizeH="0" baseline="0" noProof="0" dirty="0">
                  <a:ln>
                    <a:noFill/>
                  </a:ln>
                  <a:solidFill>
                    <a:srgbClr val="244C5A"/>
                  </a:solidFill>
                  <a:effectLst/>
                  <a:uLnTx/>
                  <a:uFillTx/>
                  <a:latin typeface="Source Sans Pro"/>
                  <a:ea typeface="+mn-ea"/>
                  <a:cs typeface="Source Sans Pro"/>
                </a:rPr>
                <a:t>EPR Laws Passed &amp; Currently Being Implemented​</a:t>
              </a:r>
            </a:p>
            <a:p>
              <a:pPr marL="7701" marR="0" lvl="0" indent="0" algn="l" defTabSz="914400" rtl="0" eaLnBrk="1" fontAlgn="auto" latinLnBrk="0" hangingPunct="1">
                <a:lnSpc>
                  <a:spcPct val="100000"/>
                </a:lnSpc>
                <a:spcBef>
                  <a:spcPts val="79"/>
                </a:spcBef>
                <a:spcAft>
                  <a:spcPts val="0"/>
                </a:spcAft>
                <a:buClrTx/>
                <a:buSzTx/>
                <a:buFontTx/>
                <a:buNone/>
                <a:tabLst/>
                <a:defRPr/>
              </a:pPr>
              <a:r>
                <a:rPr kumimoji="0" lang="en-US" sz="1200" b="0" i="0" u="none" strike="noStrike" kern="1200" cap="none" spc="0" normalizeH="0" baseline="0" noProof="0" dirty="0">
                  <a:ln>
                    <a:noFill/>
                  </a:ln>
                  <a:solidFill>
                    <a:srgbClr val="006E63"/>
                  </a:solidFill>
                  <a:effectLst/>
                  <a:uLnTx/>
                  <a:uFillTx/>
                  <a:latin typeface="Source Sans Pro"/>
                  <a:ea typeface="+mn-ea"/>
                  <a:cs typeface="Source Sans Pro"/>
                </a:rPr>
                <a:t>(California, Colorado, Maine, Oregon</a:t>
              </a:r>
              <a:r>
                <a:rPr kumimoji="0" lang="en-US" sz="1200" b="0" i="0" u="none" strike="noStrike" kern="1200" cap="none" spc="-6" normalizeH="0" baseline="0" noProof="0" dirty="0">
                  <a:ln>
                    <a:noFill/>
                  </a:ln>
                  <a:solidFill>
                    <a:srgbClr val="006E63"/>
                  </a:solidFill>
                  <a:effectLst/>
                  <a:uLnTx/>
                  <a:uFillTx/>
                  <a:latin typeface="Source Sans Pro"/>
                  <a:ea typeface="+mn-ea"/>
                  <a:cs typeface="Source Sans Pro"/>
                </a:rPr>
                <a:t>)</a:t>
              </a:r>
              <a:endParaRPr kumimoji="0" lang="en-US" sz="1200" b="0" i="0" u="none" strike="noStrike" kern="1200" cap="none" spc="0" normalizeH="0" baseline="0" noProof="0" dirty="0">
                <a:ln>
                  <a:noFill/>
                </a:ln>
                <a:solidFill>
                  <a:srgbClr val="006E63"/>
                </a:solidFill>
                <a:effectLst/>
                <a:uLnTx/>
                <a:uFillTx/>
                <a:latin typeface="Source Sans Pro"/>
                <a:ea typeface="+mn-ea"/>
                <a:cs typeface="Source Sans Pro"/>
              </a:endParaRPr>
            </a:p>
          </p:txBody>
        </p:sp>
        <p:sp>
          <p:nvSpPr>
            <p:cNvPr id="11" name="object 10">
              <a:extLst>
                <a:ext uri="{FF2B5EF4-FFF2-40B4-BE49-F238E27FC236}">
                  <a16:creationId xmlns:a16="http://schemas.microsoft.com/office/drawing/2014/main" id="{803E0BAC-4263-C6DA-3D92-A55F9E587944}"/>
                </a:ext>
              </a:extLst>
            </p:cNvPr>
            <p:cNvSpPr txBox="1"/>
            <p:nvPr/>
          </p:nvSpPr>
          <p:spPr>
            <a:xfrm>
              <a:off x="914705" y="4043979"/>
              <a:ext cx="3392389" cy="715431"/>
            </a:xfrm>
            <a:prstGeom prst="rect">
              <a:avLst/>
            </a:prstGeom>
          </p:spPr>
          <p:txBody>
            <a:bodyPr vert="horz" wrap="square" lIns="0" tIns="10012" rIns="0" bIns="0" rtlCol="0">
              <a:spAutoFit/>
            </a:bodyPr>
            <a:lstStyle/>
            <a:p>
              <a:pPr marL="305741" marR="0" lvl="0" indent="0" algn="l" defTabSz="914400" rtl="0" eaLnBrk="1" fontAlgn="auto" latinLnBrk="0" hangingPunct="1">
                <a:lnSpc>
                  <a:spcPct val="100000"/>
                </a:lnSpc>
                <a:spcBef>
                  <a:spcPts val="79"/>
                </a:spcBef>
                <a:spcAft>
                  <a:spcPts val="0"/>
                </a:spcAft>
                <a:buClrTx/>
                <a:buSzTx/>
                <a:buFontTx/>
                <a:buNone/>
                <a:tabLst/>
                <a:defRPr/>
              </a:pPr>
              <a:r>
                <a:rPr kumimoji="0" lang="en-US" sz="1800" b="0" i="0" u="none" strike="noStrike" kern="1200" cap="none" spc="0" normalizeH="0" baseline="0" noProof="0" dirty="0">
                  <a:ln>
                    <a:noFill/>
                  </a:ln>
                  <a:solidFill>
                    <a:srgbClr val="244C5A"/>
                  </a:solidFill>
                  <a:effectLst/>
                  <a:uLnTx/>
                  <a:uFillTx/>
                  <a:latin typeface="Source Sans Pro"/>
                  <a:ea typeface="+mn-ea"/>
                  <a:cs typeface="Source Sans Pro"/>
                </a:rPr>
                <a:t>EPR Legislative Activity in 2023</a:t>
              </a:r>
              <a:endParaRPr kumimoji="0" sz="1800" b="0" i="0" u="none" strike="noStrike" kern="1200" cap="none" spc="0" normalizeH="0" baseline="0" noProof="0" dirty="0">
                <a:ln>
                  <a:noFill/>
                </a:ln>
                <a:solidFill>
                  <a:srgbClr val="000000"/>
                </a:solidFill>
                <a:effectLst/>
                <a:uLnTx/>
                <a:uFillTx/>
                <a:latin typeface="Source Sans Pro"/>
                <a:ea typeface="+mn-ea"/>
                <a:cs typeface="Source Sans Pro"/>
              </a:endParaRPr>
            </a:p>
            <a:p>
              <a:pPr marL="7701" marR="0" lvl="0" indent="0" algn="l" defTabSz="914400" rtl="0" eaLnBrk="1" fontAlgn="auto" latinLnBrk="0" hangingPunct="1">
                <a:lnSpc>
                  <a:spcPct val="100000"/>
                </a:lnSpc>
                <a:spcBef>
                  <a:spcPts val="1892"/>
                </a:spcBef>
                <a:spcAft>
                  <a:spcPts val="0"/>
                </a:spcAft>
                <a:buClrTx/>
                <a:buSzTx/>
                <a:buFontTx/>
                <a:buNone/>
                <a:tabLst/>
                <a:defRPr/>
              </a:pPr>
              <a:r>
                <a:rPr kumimoji="0" sz="1200" b="0" i="1" u="none" strike="noStrike" kern="1200" cap="none" spc="0" normalizeH="0" baseline="0" noProof="0" dirty="0">
                  <a:ln>
                    <a:noFill/>
                  </a:ln>
                  <a:solidFill>
                    <a:srgbClr val="231F20"/>
                  </a:solidFill>
                  <a:effectLst/>
                  <a:uLnTx/>
                  <a:uFillTx/>
                  <a:latin typeface="Source Sans Pro"/>
                  <a:ea typeface="+mn-ea"/>
                  <a:cs typeface="Source Sans Pro"/>
                </a:rPr>
                <a:t>*</a:t>
              </a:r>
              <a:endParaRPr kumimoji="0" sz="1200" b="0" i="0" u="none" strike="noStrike" kern="1200" cap="none" spc="0" normalizeH="0" baseline="0" noProof="0" dirty="0">
                <a:ln>
                  <a:noFill/>
                </a:ln>
                <a:solidFill>
                  <a:srgbClr val="000000"/>
                </a:solidFill>
                <a:effectLst/>
                <a:uLnTx/>
                <a:uFillTx/>
                <a:latin typeface="Source Sans Pro"/>
                <a:ea typeface="+mn-ea"/>
                <a:cs typeface="Source Sans Pro"/>
              </a:endParaRPr>
            </a:p>
          </p:txBody>
        </p:sp>
        <p:sp>
          <p:nvSpPr>
            <p:cNvPr id="121" name="object 7">
              <a:extLst>
                <a:ext uri="{FF2B5EF4-FFF2-40B4-BE49-F238E27FC236}">
                  <a16:creationId xmlns:a16="http://schemas.microsoft.com/office/drawing/2014/main" id="{6C588943-C1BC-754C-8D13-06EAB6A2F119}"/>
                </a:ext>
              </a:extLst>
            </p:cNvPr>
            <p:cNvSpPr/>
            <p:nvPr/>
          </p:nvSpPr>
          <p:spPr>
            <a:xfrm>
              <a:off x="914400" y="4102948"/>
              <a:ext cx="184444" cy="184444"/>
            </a:xfrm>
            <a:custGeom>
              <a:avLst/>
              <a:gdLst/>
              <a:ahLst/>
              <a:cxnLst/>
              <a:rect l="l" t="t" r="r" b="b"/>
              <a:pathLst>
                <a:path w="304164" h="304164">
                  <a:moveTo>
                    <a:pt x="151827" y="0"/>
                  </a:moveTo>
                  <a:lnTo>
                    <a:pt x="103839" y="7740"/>
                  </a:lnTo>
                  <a:lnTo>
                    <a:pt x="62160" y="29294"/>
                  </a:lnTo>
                  <a:lnTo>
                    <a:pt x="29294" y="62160"/>
                  </a:lnTo>
                  <a:lnTo>
                    <a:pt x="7740" y="103839"/>
                  </a:lnTo>
                  <a:lnTo>
                    <a:pt x="0" y="151827"/>
                  </a:lnTo>
                  <a:lnTo>
                    <a:pt x="7740" y="199816"/>
                  </a:lnTo>
                  <a:lnTo>
                    <a:pt x="29294" y="241494"/>
                  </a:lnTo>
                  <a:lnTo>
                    <a:pt x="62160" y="274361"/>
                  </a:lnTo>
                  <a:lnTo>
                    <a:pt x="103839" y="295915"/>
                  </a:lnTo>
                  <a:lnTo>
                    <a:pt x="151827" y="303655"/>
                  </a:lnTo>
                  <a:lnTo>
                    <a:pt x="199816" y="295915"/>
                  </a:lnTo>
                  <a:lnTo>
                    <a:pt x="241494" y="274361"/>
                  </a:lnTo>
                  <a:lnTo>
                    <a:pt x="274361" y="241494"/>
                  </a:lnTo>
                  <a:lnTo>
                    <a:pt x="295915" y="199816"/>
                  </a:lnTo>
                  <a:lnTo>
                    <a:pt x="303655" y="151827"/>
                  </a:lnTo>
                  <a:lnTo>
                    <a:pt x="295915" y="103839"/>
                  </a:lnTo>
                  <a:lnTo>
                    <a:pt x="274361" y="62160"/>
                  </a:lnTo>
                  <a:lnTo>
                    <a:pt x="241494" y="29294"/>
                  </a:lnTo>
                  <a:lnTo>
                    <a:pt x="199816" y="7740"/>
                  </a:lnTo>
                  <a:lnTo>
                    <a:pt x="151827" y="0"/>
                  </a:lnTo>
                  <a:close/>
                </a:path>
              </a:pathLst>
            </a:custGeom>
            <a:solidFill>
              <a:schemeClr val="tx2"/>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Source Sans Pro"/>
                <a:ea typeface="+mn-ea"/>
                <a:cs typeface="+mn-cs"/>
              </a:endParaRPr>
            </a:p>
          </p:txBody>
        </p:sp>
      </p:grpSp>
      <p:sp>
        <p:nvSpPr>
          <p:cNvPr id="5" name="Text Placeholder 16">
            <a:extLst>
              <a:ext uri="{FF2B5EF4-FFF2-40B4-BE49-F238E27FC236}">
                <a16:creationId xmlns:a16="http://schemas.microsoft.com/office/drawing/2014/main" id="{01593C31-E834-01A9-CF15-250CE5904184}"/>
              </a:ext>
            </a:extLst>
          </p:cNvPr>
          <p:cNvSpPr txBox="1">
            <a:spLocks/>
          </p:cNvSpPr>
          <p:nvPr/>
        </p:nvSpPr>
        <p:spPr>
          <a:xfrm>
            <a:off x="373112" y="4389291"/>
            <a:ext cx="4697305" cy="98456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US" sz="2500" dirty="0">
                <a:solidFill>
                  <a:srgbClr val="00A887"/>
                </a:solidFill>
                <a:latin typeface="+mj-lt"/>
              </a:rPr>
              <a:t>EPR implementation in four states will increase the national recycling rate by 4-5%.</a:t>
            </a:r>
          </a:p>
          <a:p>
            <a:pPr marL="0" indent="0" algn="ctr">
              <a:buFont typeface="Arial"/>
              <a:buNone/>
            </a:pPr>
            <a:endParaRPr lang="en-US" sz="2500" dirty="0">
              <a:solidFill>
                <a:srgbClr val="244C5A"/>
              </a:solidFill>
            </a:endParaRPr>
          </a:p>
        </p:txBody>
      </p:sp>
    </p:spTree>
    <p:extLst>
      <p:ext uri="{BB962C8B-B14F-4D97-AF65-F5344CB8AC3E}">
        <p14:creationId xmlns:p14="http://schemas.microsoft.com/office/powerpoint/2010/main" val="7039025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F81316-0D01-B114-0AB1-DCDB2E959E0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CC2FB7E-E9FD-AA44-8101-F627C1923673}" type="slidenum">
              <a:rPr kumimoji="0" lang="en-US" sz="1050" b="0" i="0" u="none" strike="noStrike" kern="1200" cap="none" spc="0" normalizeH="0" baseline="0" noProof="0" smtClean="0">
                <a:ln>
                  <a:noFill/>
                </a:ln>
                <a:solidFill>
                  <a:srgbClr val="244C5A"/>
                </a:solidFill>
                <a:effectLst/>
                <a:uLnTx/>
                <a:uFillTx/>
                <a:latin typeface="Source San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a:ln>
                <a:noFill/>
              </a:ln>
              <a:solidFill>
                <a:srgbClr val="244C5A"/>
              </a:solidFill>
              <a:effectLst/>
              <a:uLnTx/>
              <a:uFillTx/>
              <a:latin typeface="Source Sans Pro"/>
              <a:ea typeface="+mn-ea"/>
              <a:cs typeface="+mn-cs"/>
            </a:endParaRPr>
          </a:p>
        </p:txBody>
      </p:sp>
      <p:sp>
        <p:nvSpPr>
          <p:cNvPr id="3" name="Text Placeholder 2">
            <a:extLst>
              <a:ext uri="{FF2B5EF4-FFF2-40B4-BE49-F238E27FC236}">
                <a16:creationId xmlns:a16="http://schemas.microsoft.com/office/drawing/2014/main" id="{8A0CD925-F2D0-E463-5848-0FDFCA0A9E90}"/>
              </a:ext>
            </a:extLst>
          </p:cNvPr>
          <p:cNvSpPr>
            <a:spLocks noGrp="1"/>
          </p:cNvSpPr>
          <p:nvPr>
            <p:ph type="body" sz="quarter" idx="11"/>
          </p:nvPr>
        </p:nvSpPr>
        <p:spPr/>
        <p:txBody>
          <a:bodyPr/>
          <a:lstStyle/>
          <a:p>
            <a:r>
              <a:rPr lang="en-US" sz="2000" dirty="0"/>
              <a:t>Which Regions Have Strongest Opportunity?</a:t>
            </a:r>
          </a:p>
        </p:txBody>
      </p:sp>
      <p:sp>
        <p:nvSpPr>
          <p:cNvPr id="40" name="TextBox 39">
            <a:extLst>
              <a:ext uri="{FF2B5EF4-FFF2-40B4-BE49-F238E27FC236}">
                <a16:creationId xmlns:a16="http://schemas.microsoft.com/office/drawing/2014/main" id="{CC9BE9AC-9C3F-D2BE-02E2-926E0B3084A3}"/>
              </a:ext>
            </a:extLst>
          </p:cNvPr>
          <p:cNvSpPr txBox="1"/>
          <p:nvPr/>
        </p:nvSpPr>
        <p:spPr>
          <a:xfrm>
            <a:off x="7614288" y="6343757"/>
            <a:ext cx="3966703" cy="246221"/>
          </a:xfrm>
          <a:prstGeom prst="rect">
            <a:avLst/>
          </a:prstGeom>
          <a:noFill/>
        </p:spPr>
        <p:txBody>
          <a:bodyPr wrap="square" lIns="91440" tIns="45720" rIns="91440" bIns="4572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44C5A">
                    <a:lumMod val="75000"/>
                  </a:srgbClr>
                </a:solidFill>
                <a:effectLst/>
                <a:uLnTx/>
                <a:uFillTx/>
                <a:latin typeface="Source Sans Pro"/>
                <a:ea typeface="+mn-ea"/>
                <a:cs typeface="+mn-cs"/>
              </a:rPr>
              <a:t>Confidential to Members of The Recycling Partnership</a:t>
            </a:r>
          </a:p>
        </p:txBody>
      </p:sp>
      <p:pic>
        <p:nvPicPr>
          <p:cNvPr id="24" name="Graphic 23">
            <a:extLst>
              <a:ext uri="{FF2B5EF4-FFF2-40B4-BE49-F238E27FC236}">
                <a16:creationId xmlns:a16="http://schemas.microsoft.com/office/drawing/2014/main" id="{8FBB1246-49D4-2DBE-2F5B-254DF977B0A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473834" y="433387"/>
            <a:ext cx="214313" cy="228600"/>
          </a:xfrm>
          <a:prstGeom prst="rect">
            <a:avLst/>
          </a:prstGeom>
        </p:spPr>
      </p:pic>
      <p:sp>
        <p:nvSpPr>
          <p:cNvPr id="35" name="Text Placeholder 16">
            <a:extLst>
              <a:ext uri="{FF2B5EF4-FFF2-40B4-BE49-F238E27FC236}">
                <a16:creationId xmlns:a16="http://schemas.microsoft.com/office/drawing/2014/main" id="{44E55C1C-8E5C-F0A2-8C3B-B31B07AC9770}"/>
              </a:ext>
            </a:extLst>
          </p:cNvPr>
          <p:cNvSpPr>
            <a:spLocks noGrp="1"/>
          </p:cNvSpPr>
          <p:nvPr>
            <p:ph type="body" sz="quarter" idx="12"/>
          </p:nvPr>
        </p:nvSpPr>
        <p:spPr>
          <a:xfrm>
            <a:off x="152381" y="1114961"/>
            <a:ext cx="5649136" cy="2015936"/>
          </a:xfrm>
          <a:prstGeom prst="rect">
            <a:avLst/>
          </a:prstGeom>
        </p:spPr>
        <p:txBody>
          <a:bodyPr/>
          <a:lstStyle/>
          <a:p>
            <a:pPr marL="0" indent="0" algn="ctr">
              <a:buNone/>
            </a:pPr>
            <a:r>
              <a:rPr lang="en-US" sz="2500" dirty="0">
                <a:solidFill>
                  <a:srgbClr val="00A887"/>
                </a:solidFill>
              </a:rPr>
              <a:t>Regions without policy have the largest opportunity to capture tons and improve the national rate.</a:t>
            </a:r>
            <a:endParaRPr lang="en-US" sz="2500" dirty="0">
              <a:solidFill>
                <a:srgbClr val="00A887"/>
              </a:solidFill>
              <a:latin typeface="+mj-lt"/>
            </a:endParaRPr>
          </a:p>
          <a:p>
            <a:pPr marL="0" indent="0" algn="ctr">
              <a:buNone/>
            </a:pPr>
            <a:endParaRPr lang="en-US" sz="2500" dirty="0">
              <a:solidFill>
                <a:srgbClr val="244C5A"/>
              </a:solidFill>
            </a:endParaRPr>
          </a:p>
        </p:txBody>
      </p:sp>
      <p:graphicFrame>
        <p:nvGraphicFramePr>
          <p:cNvPr id="17" name="Table 17">
            <a:extLst>
              <a:ext uri="{FF2B5EF4-FFF2-40B4-BE49-F238E27FC236}">
                <a16:creationId xmlns:a16="http://schemas.microsoft.com/office/drawing/2014/main" id="{C7A4B0CB-3D63-76DE-F357-A63526EB3D7A}"/>
              </a:ext>
            </a:extLst>
          </p:cNvPr>
          <p:cNvGraphicFramePr>
            <a:graphicFrameLocks noGrp="1"/>
          </p:cNvGraphicFramePr>
          <p:nvPr/>
        </p:nvGraphicFramePr>
        <p:xfrm>
          <a:off x="7315201" y="1187146"/>
          <a:ext cx="4313762" cy="4572000"/>
        </p:xfrm>
        <a:graphic>
          <a:graphicData uri="http://schemas.openxmlformats.org/drawingml/2006/table">
            <a:tbl>
              <a:tblPr firstRow="1" bandRow="1">
                <a:tableStyleId>{5C22544A-7EE6-4342-B048-85BDC9FD1C3A}</a:tableStyleId>
              </a:tblPr>
              <a:tblGrid>
                <a:gridCol w="1294129">
                  <a:extLst>
                    <a:ext uri="{9D8B030D-6E8A-4147-A177-3AD203B41FA5}">
                      <a16:colId xmlns:a16="http://schemas.microsoft.com/office/drawing/2014/main" val="2130787381"/>
                    </a:ext>
                  </a:extLst>
                </a:gridCol>
                <a:gridCol w="1401972">
                  <a:extLst>
                    <a:ext uri="{9D8B030D-6E8A-4147-A177-3AD203B41FA5}">
                      <a16:colId xmlns:a16="http://schemas.microsoft.com/office/drawing/2014/main" val="4151987583"/>
                    </a:ext>
                  </a:extLst>
                </a:gridCol>
                <a:gridCol w="1617661">
                  <a:extLst>
                    <a:ext uri="{9D8B030D-6E8A-4147-A177-3AD203B41FA5}">
                      <a16:colId xmlns:a16="http://schemas.microsoft.com/office/drawing/2014/main" val="2333061272"/>
                    </a:ext>
                  </a:extLst>
                </a:gridCol>
              </a:tblGrid>
              <a:tr h="515949">
                <a:tc>
                  <a:txBody>
                    <a:bodyPr/>
                    <a:lstStyle/>
                    <a:p>
                      <a:pPr algn="ctr"/>
                      <a:r>
                        <a:rPr lang="en-US" sz="1800">
                          <a:solidFill>
                            <a:schemeClr val="bg1"/>
                          </a:solidFill>
                        </a:rPr>
                        <a:t>EPA Region</a:t>
                      </a:r>
                    </a:p>
                  </a:txBody>
                  <a:tcPr anchor="ctr">
                    <a:lnB w="12700" cap="flat" cmpd="sng" algn="ctr">
                      <a:solidFill>
                        <a:schemeClr val="tx1"/>
                      </a:solidFill>
                      <a:prstDash val="solid"/>
                      <a:round/>
                      <a:headEnd type="none" w="med" len="med"/>
                      <a:tailEnd type="none" w="med" len="med"/>
                    </a:lnB>
                    <a:solidFill>
                      <a:srgbClr val="00A887"/>
                    </a:solidFill>
                  </a:tcPr>
                </a:tc>
                <a:tc>
                  <a:txBody>
                    <a:bodyPr/>
                    <a:lstStyle/>
                    <a:p>
                      <a:pPr algn="ctr"/>
                      <a:r>
                        <a:rPr lang="en-US" sz="1800">
                          <a:solidFill>
                            <a:schemeClr val="bg1"/>
                          </a:solidFill>
                        </a:rPr>
                        <a:t>Lost Tons Per Year  (M)</a:t>
                      </a:r>
                    </a:p>
                  </a:txBody>
                  <a:tcPr anchor="ctr">
                    <a:lnB w="12700" cap="flat" cmpd="sng" algn="ctr">
                      <a:solidFill>
                        <a:schemeClr val="tx1"/>
                      </a:solidFill>
                      <a:prstDash val="solid"/>
                      <a:round/>
                      <a:headEnd type="none" w="med" len="med"/>
                      <a:tailEnd type="none" w="med" len="med"/>
                    </a:lnB>
                    <a:solidFill>
                      <a:srgbClr val="00A887"/>
                    </a:solidFill>
                  </a:tcPr>
                </a:tc>
                <a:tc>
                  <a:txBody>
                    <a:bodyPr/>
                    <a:lstStyle/>
                    <a:p>
                      <a:pPr algn="ctr"/>
                      <a:r>
                        <a:rPr lang="en-US" sz="1800">
                          <a:solidFill>
                            <a:schemeClr val="bg1"/>
                          </a:solidFill>
                        </a:rPr>
                        <a:t>Est. Region Recycling Rate</a:t>
                      </a:r>
                    </a:p>
                  </a:txBody>
                  <a:tcPr anchor="ctr">
                    <a:lnB w="12700" cap="flat" cmpd="sng" algn="ctr">
                      <a:solidFill>
                        <a:schemeClr val="tx1"/>
                      </a:solidFill>
                      <a:prstDash val="solid"/>
                      <a:round/>
                      <a:headEnd type="none" w="med" len="med"/>
                      <a:tailEnd type="none" w="med" len="med"/>
                    </a:lnB>
                    <a:solidFill>
                      <a:srgbClr val="00A887"/>
                    </a:solidFill>
                  </a:tcPr>
                </a:tc>
                <a:extLst>
                  <a:ext uri="{0D108BD9-81ED-4DB2-BD59-A6C34878D82A}">
                    <a16:rowId xmlns:a16="http://schemas.microsoft.com/office/drawing/2014/main" val="1508790535"/>
                  </a:ext>
                </a:extLst>
              </a:tr>
              <a:tr h="312718">
                <a:tc>
                  <a:txBody>
                    <a:bodyPr/>
                    <a:lstStyle/>
                    <a:p>
                      <a:pPr algn="ctr"/>
                      <a:r>
                        <a:rPr lang="en-US" sz="1800" b="1">
                          <a:solidFill>
                            <a:schemeClr val="bg1"/>
                          </a:solidFill>
                          <a:latin typeface="+mn-lt"/>
                        </a:rPr>
                        <a:t>4</a:t>
                      </a:r>
                    </a:p>
                  </a:txBody>
                  <a:tcPr anchor="ctr">
                    <a:lnT w="12700" cap="flat" cmpd="sng" algn="ctr">
                      <a:solidFill>
                        <a:schemeClr val="tx1"/>
                      </a:solidFill>
                      <a:prstDash val="solid"/>
                      <a:round/>
                      <a:headEnd type="none" w="med" len="med"/>
                      <a:tailEnd type="none" w="med" len="med"/>
                    </a:lnT>
                    <a:solidFill>
                      <a:srgbClr val="5AA4BD"/>
                    </a:solidFill>
                  </a:tcPr>
                </a:tc>
                <a:tc>
                  <a:txBody>
                    <a:bodyPr/>
                    <a:lstStyle/>
                    <a:p>
                      <a:pPr algn="ctr" fontAlgn="b"/>
                      <a:r>
                        <a:rPr lang="en-US" sz="1800" b="1" i="0" u="none" strike="noStrike">
                          <a:solidFill>
                            <a:schemeClr val="bg1"/>
                          </a:solidFill>
                          <a:effectLst/>
                          <a:latin typeface="+mn-lt"/>
                        </a:rPr>
                        <a:t>   6.2</a:t>
                      </a:r>
                    </a:p>
                  </a:txBody>
                  <a:tcPr marL="0" marR="0" marT="0" marB="0" anchor="ctr">
                    <a:lnT w="12700" cap="flat" cmpd="sng" algn="ctr">
                      <a:solidFill>
                        <a:schemeClr val="tx1"/>
                      </a:solidFill>
                      <a:prstDash val="solid"/>
                      <a:round/>
                      <a:headEnd type="none" w="med" len="med"/>
                      <a:tailEnd type="none" w="med" len="med"/>
                    </a:lnT>
                    <a:solidFill>
                      <a:srgbClr val="5AA4BD"/>
                    </a:solidFill>
                  </a:tcPr>
                </a:tc>
                <a:tc>
                  <a:txBody>
                    <a:bodyPr/>
                    <a:lstStyle/>
                    <a:p>
                      <a:pPr algn="ctr" fontAlgn="b"/>
                      <a:r>
                        <a:rPr lang="en-US" sz="1800" b="1" i="0" u="none" strike="noStrike">
                          <a:solidFill>
                            <a:schemeClr val="bg1"/>
                          </a:solidFill>
                          <a:effectLst/>
                          <a:latin typeface="+mn-lt"/>
                        </a:rPr>
                        <a:t>18%</a:t>
                      </a:r>
                    </a:p>
                  </a:txBody>
                  <a:tcPr marL="0" marR="0" marT="0" marB="0" anchor="ctr">
                    <a:lnT w="12700" cap="flat" cmpd="sng" algn="ctr">
                      <a:solidFill>
                        <a:schemeClr val="tx1"/>
                      </a:solidFill>
                      <a:prstDash val="solid"/>
                      <a:round/>
                      <a:headEnd type="none" w="med" len="med"/>
                      <a:tailEnd type="none" w="med" len="med"/>
                    </a:lnT>
                    <a:solidFill>
                      <a:srgbClr val="5AA4BD"/>
                    </a:solidFill>
                  </a:tcPr>
                </a:tc>
                <a:extLst>
                  <a:ext uri="{0D108BD9-81ED-4DB2-BD59-A6C34878D82A}">
                    <a16:rowId xmlns:a16="http://schemas.microsoft.com/office/drawing/2014/main" val="2335783816"/>
                  </a:ext>
                </a:extLst>
              </a:tr>
              <a:tr h="312718">
                <a:tc>
                  <a:txBody>
                    <a:bodyPr/>
                    <a:lstStyle/>
                    <a:p>
                      <a:pPr algn="ctr"/>
                      <a:r>
                        <a:rPr lang="en-US" sz="1800" b="1">
                          <a:solidFill>
                            <a:schemeClr val="bg1"/>
                          </a:solidFill>
                          <a:latin typeface="+mn-lt"/>
                        </a:rPr>
                        <a:t>5</a:t>
                      </a:r>
                    </a:p>
                  </a:txBody>
                  <a:tcPr anchor="ctr">
                    <a:solidFill>
                      <a:srgbClr val="244C5A"/>
                    </a:solidFill>
                  </a:tcPr>
                </a:tc>
                <a:tc>
                  <a:txBody>
                    <a:bodyPr/>
                    <a:lstStyle/>
                    <a:p>
                      <a:pPr algn="ctr" fontAlgn="b"/>
                      <a:r>
                        <a:rPr lang="en-US" sz="1800" b="1" i="0" u="none" strike="noStrike">
                          <a:solidFill>
                            <a:schemeClr val="bg1"/>
                          </a:solidFill>
                          <a:effectLst/>
                          <a:latin typeface="+mn-lt"/>
                        </a:rPr>
                        <a:t>   5.3 </a:t>
                      </a:r>
                    </a:p>
                  </a:txBody>
                  <a:tcPr marL="0" marR="0" marT="0" marB="0" anchor="ctr">
                    <a:solidFill>
                      <a:srgbClr val="244C5A"/>
                    </a:solidFill>
                  </a:tcPr>
                </a:tc>
                <a:tc>
                  <a:txBody>
                    <a:bodyPr/>
                    <a:lstStyle/>
                    <a:p>
                      <a:pPr algn="ctr" fontAlgn="b"/>
                      <a:r>
                        <a:rPr lang="en-US" sz="1800" b="1" i="0" u="none" strike="noStrike">
                          <a:solidFill>
                            <a:schemeClr val="bg1"/>
                          </a:solidFill>
                          <a:effectLst/>
                          <a:latin typeface="+mn-lt"/>
                        </a:rPr>
                        <a:t>23%</a:t>
                      </a:r>
                    </a:p>
                  </a:txBody>
                  <a:tcPr marL="0" marR="0" marT="0" marB="0" anchor="ctr">
                    <a:solidFill>
                      <a:srgbClr val="244C5A"/>
                    </a:solidFill>
                  </a:tcPr>
                </a:tc>
                <a:extLst>
                  <a:ext uri="{0D108BD9-81ED-4DB2-BD59-A6C34878D82A}">
                    <a16:rowId xmlns:a16="http://schemas.microsoft.com/office/drawing/2014/main" val="2354698378"/>
                  </a:ext>
                </a:extLst>
              </a:tr>
              <a:tr h="312718">
                <a:tc>
                  <a:txBody>
                    <a:bodyPr/>
                    <a:lstStyle/>
                    <a:p>
                      <a:pPr algn="ctr"/>
                      <a:r>
                        <a:rPr lang="en-US" sz="1800" b="1">
                          <a:solidFill>
                            <a:schemeClr val="bg1"/>
                          </a:solidFill>
                          <a:latin typeface="+mn-lt"/>
                        </a:rPr>
                        <a:t>6</a:t>
                      </a:r>
                    </a:p>
                  </a:txBody>
                  <a:tcPr anchor="ctr">
                    <a:solidFill>
                      <a:schemeClr val="bg2">
                        <a:lumMod val="50000"/>
                      </a:schemeClr>
                    </a:solidFill>
                  </a:tcPr>
                </a:tc>
                <a:tc>
                  <a:txBody>
                    <a:bodyPr/>
                    <a:lstStyle/>
                    <a:p>
                      <a:pPr algn="ctr" fontAlgn="b"/>
                      <a:r>
                        <a:rPr lang="en-US" sz="1800" b="1" i="0" u="none" strike="noStrike">
                          <a:solidFill>
                            <a:schemeClr val="bg1"/>
                          </a:solidFill>
                          <a:effectLst/>
                          <a:latin typeface="+mn-lt"/>
                        </a:rPr>
                        <a:t>   3.8 </a:t>
                      </a:r>
                    </a:p>
                  </a:txBody>
                  <a:tcPr marL="0" marR="0" marT="0" marB="0" anchor="ctr">
                    <a:solidFill>
                      <a:schemeClr val="bg2">
                        <a:lumMod val="50000"/>
                      </a:schemeClr>
                    </a:solidFill>
                  </a:tcPr>
                </a:tc>
                <a:tc>
                  <a:txBody>
                    <a:bodyPr/>
                    <a:lstStyle/>
                    <a:p>
                      <a:pPr algn="ctr" fontAlgn="b"/>
                      <a:r>
                        <a:rPr lang="en-US" sz="1800" b="1" i="0" u="none" strike="noStrike" dirty="0">
                          <a:solidFill>
                            <a:schemeClr val="bg1"/>
                          </a:solidFill>
                          <a:effectLst/>
                          <a:latin typeface="+mn-lt"/>
                        </a:rPr>
                        <a:t>17%</a:t>
                      </a:r>
                    </a:p>
                  </a:txBody>
                  <a:tcPr marL="0" marR="0" marT="0" marB="0" anchor="ctr">
                    <a:solidFill>
                      <a:schemeClr val="bg2">
                        <a:lumMod val="50000"/>
                      </a:schemeClr>
                    </a:solidFill>
                  </a:tcPr>
                </a:tc>
                <a:extLst>
                  <a:ext uri="{0D108BD9-81ED-4DB2-BD59-A6C34878D82A}">
                    <a16:rowId xmlns:a16="http://schemas.microsoft.com/office/drawing/2014/main" val="2730369804"/>
                  </a:ext>
                </a:extLst>
              </a:tr>
              <a:tr h="312718">
                <a:tc>
                  <a:txBody>
                    <a:bodyPr/>
                    <a:lstStyle/>
                    <a:p>
                      <a:pPr algn="ctr"/>
                      <a:r>
                        <a:rPr lang="en-US" sz="1800" b="1">
                          <a:latin typeface="+mn-lt"/>
                        </a:rPr>
                        <a:t>3</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3.1</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20%</a:t>
                      </a:r>
                    </a:p>
                  </a:txBody>
                  <a:tcPr marL="0" marR="0" marT="0" marB="0" anchor="ctr">
                    <a:solidFill>
                      <a:schemeClr val="bg1">
                        <a:lumMod val="95000"/>
                      </a:schemeClr>
                    </a:solidFill>
                  </a:tcPr>
                </a:tc>
                <a:extLst>
                  <a:ext uri="{0D108BD9-81ED-4DB2-BD59-A6C34878D82A}">
                    <a16:rowId xmlns:a16="http://schemas.microsoft.com/office/drawing/2014/main" val="3608870418"/>
                  </a:ext>
                </a:extLst>
              </a:tr>
              <a:tr h="312718">
                <a:tc>
                  <a:txBody>
                    <a:bodyPr/>
                    <a:lstStyle/>
                    <a:p>
                      <a:pPr algn="ctr"/>
                      <a:r>
                        <a:rPr lang="en-US" sz="1800" b="1">
                          <a:latin typeface="+mn-lt"/>
                        </a:rPr>
                        <a:t>2</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2.1</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29%</a:t>
                      </a:r>
                    </a:p>
                  </a:txBody>
                  <a:tcPr marL="0" marR="0" marT="0" marB="0" anchor="ctr">
                    <a:solidFill>
                      <a:schemeClr val="bg1">
                        <a:lumMod val="95000"/>
                      </a:schemeClr>
                    </a:solidFill>
                  </a:tcPr>
                </a:tc>
                <a:extLst>
                  <a:ext uri="{0D108BD9-81ED-4DB2-BD59-A6C34878D82A}">
                    <a16:rowId xmlns:a16="http://schemas.microsoft.com/office/drawing/2014/main" val="2917342857"/>
                  </a:ext>
                </a:extLst>
              </a:tr>
              <a:tr h="312718">
                <a:tc>
                  <a:txBody>
                    <a:bodyPr/>
                    <a:lstStyle/>
                    <a:p>
                      <a:pPr algn="ctr"/>
                      <a:r>
                        <a:rPr lang="en-US" sz="1800" b="1">
                          <a:latin typeface="+mn-lt"/>
                        </a:rPr>
                        <a:t>9</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3.3</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36%</a:t>
                      </a:r>
                    </a:p>
                  </a:txBody>
                  <a:tcPr marL="0" marR="0" marT="0" marB="0" anchor="ctr">
                    <a:solidFill>
                      <a:schemeClr val="bg1">
                        <a:lumMod val="95000"/>
                      </a:schemeClr>
                    </a:solidFill>
                  </a:tcPr>
                </a:tc>
                <a:extLst>
                  <a:ext uri="{0D108BD9-81ED-4DB2-BD59-A6C34878D82A}">
                    <a16:rowId xmlns:a16="http://schemas.microsoft.com/office/drawing/2014/main" val="1213416329"/>
                  </a:ext>
                </a:extLst>
              </a:tr>
              <a:tr h="312718">
                <a:tc>
                  <a:txBody>
                    <a:bodyPr/>
                    <a:lstStyle/>
                    <a:p>
                      <a:pPr algn="ctr"/>
                      <a:r>
                        <a:rPr lang="en-US" sz="1800" b="1">
                          <a:latin typeface="+mn-lt"/>
                        </a:rPr>
                        <a:t>7</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1.6</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15%</a:t>
                      </a:r>
                    </a:p>
                  </a:txBody>
                  <a:tcPr marL="0" marR="0" marT="0" marB="0" anchor="ctr">
                    <a:solidFill>
                      <a:schemeClr val="bg1">
                        <a:lumMod val="95000"/>
                      </a:schemeClr>
                    </a:solidFill>
                  </a:tcPr>
                </a:tc>
                <a:extLst>
                  <a:ext uri="{0D108BD9-81ED-4DB2-BD59-A6C34878D82A}">
                    <a16:rowId xmlns:a16="http://schemas.microsoft.com/office/drawing/2014/main" val="173677817"/>
                  </a:ext>
                </a:extLst>
              </a:tr>
              <a:tr h="312718">
                <a:tc>
                  <a:txBody>
                    <a:bodyPr/>
                    <a:lstStyle/>
                    <a:p>
                      <a:pPr algn="ctr"/>
                      <a:r>
                        <a:rPr lang="en-US" sz="1800" b="1">
                          <a:latin typeface="+mn-lt"/>
                        </a:rPr>
                        <a:t>8</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1.2</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15%</a:t>
                      </a:r>
                    </a:p>
                  </a:txBody>
                  <a:tcPr marL="0" marR="0" marT="0" marB="0" anchor="ctr">
                    <a:solidFill>
                      <a:schemeClr val="bg1">
                        <a:lumMod val="95000"/>
                      </a:schemeClr>
                    </a:solidFill>
                  </a:tcPr>
                </a:tc>
                <a:extLst>
                  <a:ext uri="{0D108BD9-81ED-4DB2-BD59-A6C34878D82A}">
                    <a16:rowId xmlns:a16="http://schemas.microsoft.com/office/drawing/2014/main" val="1869860400"/>
                  </a:ext>
                </a:extLst>
              </a:tr>
              <a:tr h="312718">
                <a:tc>
                  <a:txBody>
                    <a:bodyPr/>
                    <a:lstStyle/>
                    <a:p>
                      <a:pPr algn="ctr"/>
                      <a:r>
                        <a:rPr lang="en-US" sz="1800" b="1">
                          <a:latin typeface="+mn-lt"/>
                        </a:rPr>
                        <a:t>1</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1.4 </a:t>
                      </a:r>
                    </a:p>
                  </a:txBody>
                  <a:tcPr marL="0" marR="0" marT="0" marB="0" anchor="ctr">
                    <a:solidFill>
                      <a:schemeClr val="bg1">
                        <a:lumMod val="95000"/>
                      </a:schemeClr>
                    </a:solidFill>
                  </a:tcPr>
                </a:tc>
                <a:tc>
                  <a:txBody>
                    <a:bodyPr/>
                    <a:lstStyle/>
                    <a:p>
                      <a:pPr algn="ctr" fontAlgn="b"/>
                      <a:r>
                        <a:rPr lang="en-US" sz="1800" b="1" i="0" u="none" strike="noStrike">
                          <a:solidFill>
                            <a:srgbClr val="000000"/>
                          </a:solidFill>
                          <a:effectLst/>
                          <a:latin typeface="+mn-lt"/>
                        </a:rPr>
                        <a:t>28%</a:t>
                      </a:r>
                    </a:p>
                  </a:txBody>
                  <a:tcPr marL="0" marR="0" marT="0" marB="0" anchor="ctr">
                    <a:solidFill>
                      <a:schemeClr val="bg1">
                        <a:lumMod val="95000"/>
                      </a:schemeClr>
                    </a:solidFill>
                  </a:tcPr>
                </a:tc>
                <a:extLst>
                  <a:ext uri="{0D108BD9-81ED-4DB2-BD59-A6C34878D82A}">
                    <a16:rowId xmlns:a16="http://schemas.microsoft.com/office/drawing/2014/main" val="2976009931"/>
                  </a:ext>
                </a:extLst>
              </a:tr>
              <a:tr h="312718">
                <a:tc>
                  <a:txBody>
                    <a:bodyPr/>
                    <a:lstStyle/>
                    <a:p>
                      <a:pPr algn="ctr"/>
                      <a:r>
                        <a:rPr lang="en-US" sz="1800" b="1">
                          <a:latin typeface="+mn-lt"/>
                        </a:rPr>
                        <a:t>10</a:t>
                      </a:r>
                    </a:p>
                  </a:txBody>
                  <a:tcPr anchor="ctr">
                    <a:solidFill>
                      <a:schemeClr val="bg1">
                        <a:lumMod val="95000"/>
                      </a:schemeClr>
                    </a:solidFill>
                  </a:tcPr>
                </a:tc>
                <a:tc>
                  <a:txBody>
                    <a:bodyPr/>
                    <a:lstStyle/>
                    <a:p>
                      <a:pPr algn="ctr" fontAlgn="b"/>
                      <a:r>
                        <a:rPr lang="en-US" sz="1800" b="1" i="0" u="none" strike="noStrike">
                          <a:solidFill>
                            <a:srgbClr val="000000"/>
                          </a:solidFill>
                          <a:effectLst/>
                          <a:latin typeface="+mn-lt"/>
                        </a:rPr>
                        <a:t>   1.2 </a:t>
                      </a:r>
                    </a:p>
                  </a:txBody>
                  <a:tcPr marL="0" marR="0" marT="0" marB="0" anchor="ctr">
                    <a:solidFill>
                      <a:schemeClr val="bg1">
                        <a:lumMod val="95000"/>
                      </a:schemeClr>
                    </a:solidFill>
                  </a:tcPr>
                </a:tc>
                <a:tc>
                  <a:txBody>
                    <a:bodyPr/>
                    <a:lstStyle/>
                    <a:p>
                      <a:pPr algn="ctr" fontAlgn="b"/>
                      <a:r>
                        <a:rPr lang="en-US" sz="1800" b="1" i="0" u="none" strike="noStrike" dirty="0">
                          <a:solidFill>
                            <a:srgbClr val="000000"/>
                          </a:solidFill>
                          <a:effectLst/>
                          <a:latin typeface="+mn-lt"/>
                        </a:rPr>
                        <a:t>28%</a:t>
                      </a:r>
                    </a:p>
                  </a:txBody>
                  <a:tcPr marL="0" marR="0" marT="0" marB="0" anchor="ctr">
                    <a:solidFill>
                      <a:schemeClr val="bg1">
                        <a:lumMod val="95000"/>
                      </a:schemeClr>
                    </a:solidFill>
                  </a:tcPr>
                </a:tc>
                <a:extLst>
                  <a:ext uri="{0D108BD9-81ED-4DB2-BD59-A6C34878D82A}">
                    <a16:rowId xmlns:a16="http://schemas.microsoft.com/office/drawing/2014/main" val="662846231"/>
                  </a:ext>
                </a:extLst>
              </a:tr>
            </a:tbl>
          </a:graphicData>
        </a:graphic>
      </p:graphicFrame>
      <p:pic>
        <p:nvPicPr>
          <p:cNvPr id="27" name="Picture 26">
            <a:extLst>
              <a:ext uri="{FF2B5EF4-FFF2-40B4-BE49-F238E27FC236}">
                <a16:creationId xmlns:a16="http://schemas.microsoft.com/office/drawing/2014/main" id="{3820028E-7BA6-3847-DD52-88E299BC08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3246" y="2577878"/>
            <a:ext cx="5649136" cy="3658740"/>
          </a:xfrm>
          <a:prstGeom prst="rect">
            <a:avLst/>
          </a:prstGeom>
        </p:spPr>
      </p:pic>
    </p:spTree>
    <p:extLst>
      <p:ext uri="{BB962C8B-B14F-4D97-AF65-F5344CB8AC3E}">
        <p14:creationId xmlns:p14="http://schemas.microsoft.com/office/powerpoint/2010/main" val="2178330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FFFFFF"/>
      </a:hlink>
      <a:folHlink>
        <a:srgbClr val="7ADFA9"/>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BDE569FC-0710-486B-87A3-0748ED4B8DB1}"/>
    </a:ext>
  </a:extLst>
</a:theme>
</file>

<file path=ppt/theme/theme10.xml><?xml version="1.0" encoding="utf-8"?>
<a:theme xmlns:a="http://schemas.openxmlformats.org/drawingml/2006/main" name="Section">
  <a:themeElements>
    <a:clrScheme name="New_TRP_Branding_DarkBG">
      <a:dk1>
        <a:srgbClr val="000000"/>
      </a:dk1>
      <a:lt1>
        <a:srgbClr val="FFFFFF"/>
      </a:lt1>
      <a:dk2>
        <a:srgbClr val="244C5A"/>
      </a:dk2>
      <a:lt2>
        <a:srgbClr val="FAFAFA"/>
      </a:lt2>
      <a:accent1>
        <a:srgbClr val="00A584"/>
      </a:accent1>
      <a:accent2>
        <a:srgbClr val="7ADFA9"/>
      </a:accent2>
      <a:accent3>
        <a:srgbClr val="006E63"/>
      </a:accent3>
      <a:accent4>
        <a:srgbClr val="F98E2B"/>
      </a:accent4>
      <a:accent5>
        <a:srgbClr val="FFC72A"/>
      </a:accent5>
      <a:accent6>
        <a:srgbClr val="CCE981"/>
      </a:accent6>
      <a:hlink>
        <a:srgbClr val="FFFFFF"/>
      </a:hlink>
      <a:folHlink>
        <a:srgbClr val="FAFAFA"/>
      </a:folHlink>
    </a:clrScheme>
    <a:fontScheme name="New_TRP_Branding">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Custom Design">
  <a:themeElements>
    <a:clrScheme name="Custom 14">
      <a:dk1>
        <a:srgbClr val="000000"/>
      </a:dk1>
      <a:lt1>
        <a:srgbClr val="FFFFFF"/>
      </a:lt1>
      <a:dk2>
        <a:srgbClr val="2F6F79"/>
      </a:dk2>
      <a:lt2>
        <a:srgbClr val="E7E6E6"/>
      </a:lt2>
      <a:accent1>
        <a:srgbClr val="4797A8"/>
      </a:accent1>
      <a:accent2>
        <a:srgbClr val="5CB646"/>
      </a:accent2>
      <a:accent3>
        <a:srgbClr val="75D5D3"/>
      </a:accent3>
      <a:accent4>
        <a:srgbClr val="DA6018"/>
      </a:accent4>
      <a:accent5>
        <a:srgbClr val="716E69"/>
      </a:accent5>
      <a:accent6>
        <a:srgbClr val="003B6F"/>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White">
  <a:themeElements>
    <a:clrScheme name="New_TRP_Branding_Light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244C5A"/>
      </a:hlink>
      <a:folHlink>
        <a:srgbClr val="00A887"/>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in Template 2.pptx" id="{44E336D3-C9F3-4952-9C8A-924FD2FCB080}" vid="{D9B4994D-080F-4D48-BA59-157B439D075B}"/>
    </a:ext>
  </a:extLst>
</a:theme>
</file>

<file path=ppt/theme/theme13.xml><?xml version="1.0" encoding="utf-8"?>
<a:theme xmlns:a="http://schemas.openxmlformats.org/drawingml/2006/main" name="White">
  <a:themeElements>
    <a:clrScheme name="New_TRP_Branding_LightBG">
      <a:dk1>
        <a:srgbClr val="000000"/>
      </a:dk1>
      <a:lt1>
        <a:srgbClr val="FFFFFF"/>
      </a:lt1>
      <a:dk2>
        <a:srgbClr val="244C5A"/>
      </a:dk2>
      <a:lt2>
        <a:srgbClr val="FAFAFA"/>
      </a:lt2>
      <a:accent1>
        <a:srgbClr val="00A584"/>
      </a:accent1>
      <a:accent2>
        <a:srgbClr val="7ADFA9"/>
      </a:accent2>
      <a:accent3>
        <a:srgbClr val="006E63"/>
      </a:accent3>
      <a:accent4>
        <a:srgbClr val="F98E2B"/>
      </a:accent4>
      <a:accent5>
        <a:srgbClr val="FFC72A"/>
      </a:accent5>
      <a:accent6>
        <a:srgbClr val="CCE981"/>
      </a:accent6>
      <a:hlink>
        <a:srgbClr val="244C5A"/>
      </a:hlink>
      <a:folHlink>
        <a:srgbClr val="244C5A"/>
      </a:folHlink>
    </a:clrScheme>
    <a:fontScheme name="New_TRP_Branding">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White">
  <a:themeElements>
    <a:clrScheme name="New_TRP_Branding_LightBG">
      <a:dk1>
        <a:srgbClr val="000000"/>
      </a:dk1>
      <a:lt1>
        <a:srgbClr val="FFFFFF"/>
      </a:lt1>
      <a:dk2>
        <a:srgbClr val="244C5A"/>
      </a:dk2>
      <a:lt2>
        <a:srgbClr val="FAFAFA"/>
      </a:lt2>
      <a:accent1>
        <a:srgbClr val="00A584"/>
      </a:accent1>
      <a:accent2>
        <a:srgbClr val="7ADFA9"/>
      </a:accent2>
      <a:accent3>
        <a:srgbClr val="006E63"/>
      </a:accent3>
      <a:accent4>
        <a:srgbClr val="F98E2B"/>
      </a:accent4>
      <a:accent5>
        <a:srgbClr val="FFC72A"/>
      </a:accent5>
      <a:accent6>
        <a:srgbClr val="CCE981"/>
      </a:accent6>
      <a:hlink>
        <a:srgbClr val="244C5A"/>
      </a:hlink>
      <a:folHlink>
        <a:srgbClr val="244C5A"/>
      </a:folHlink>
    </a:clrScheme>
    <a:fontScheme name="New_TRP_Branding">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White">
  <a:themeElements>
    <a:clrScheme name="New_TRP_Branding_Light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244C5A"/>
      </a:hlink>
      <a:folHlink>
        <a:srgbClr val="00A887"/>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_Deck_August.pptx" id="{B95019F1-090E-4568-8FED-4BD0F0BBB918}" vid="{55B51F1B-99F9-4E1D-BCDD-785A7758468D}"/>
    </a:ext>
  </a:extLst>
</a:theme>
</file>

<file path=ppt/theme/theme16.xml><?xml version="1.0" encoding="utf-8"?>
<a:theme xmlns:a="http://schemas.openxmlformats.org/drawingml/2006/main" name="5_White">
  <a:themeElements>
    <a:clrScheme name="New_TRP_Branding_Light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244C5A"/>
      </a:hlink>
      <a:folHlink>
        <a:srgbClr val="00A887"/>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3BA8C9BF-DEF1-4D17-A34B-532AEE593AD5}"/>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ivider">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7ADFA9"/>
      </a:hlink>
      <a:folHlink>
        <a:srgbClr val="CCE981"/>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FE8D640E-936D-4705-8658-CBD61BD6CA58}"/>
    </a:ext>
  </a:extLst>
</a:theme>
</file>

<file path=ppt/theme/theme3.xml><?xml version="1.0" encoding="utf-8"?>
<a:theme xmlns:a="http://schemas.openxmlformats.org/drawingml/2006/main" name="White">
  <a:themeElements>
    <a:clrScheme name="New_TRP_Branding_LightBG">
      <a:dk1>
        <a:srgbClr val="000000"/>
      </a:dk1>
      <a:lt1>
        <a:srgbClr val="FFFFFF"/>
      </a:lt1>
      <a:dk2>
        <a:srgbClr val="244C5A"/>
      </a:dk2>
      <a:lt2>
        <a:srgbClr val="FAFAFA"/>
      </a:lt2>
      <a:accent1>
        <a:srgbClr val="00A584"/>
      </a:accent1>
      <a:accent2>
        <a:srgbClr val="7ADFA9"/>
      </a:accent2>
      <a:accent3>
        <a:srgbClr val="006E63"/>
      </a:accent3>
      <a:accent4>
        <a:srgbClr val="F98E2B"/>
      </a:accent4>
      <a:accent5>
        <a:srgbClr val="FFC72A"/>
      </a:accent5>
      <a:accent6>
        <a:srgbClr val="CCE981"/>
      </a:accent6>
      <a:hlink>
        <a:srgbClr val="244C5A"/>
      </a:hlink>
      <a:folHlink>
        <a:srgbClr val="244C5A"/>
      </a:folHlink>
    </a:clrScheme>
    <a:fontScheme name="New_TRP_Branding">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a:themeElements>
    <a:clrScheme name="New_TRP_Branding_Light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244C5A"/>
      </a:hlink>
      <a:folHlink>
        <a:srgbClr val="00A887"/>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3BA8C9BF-DEF1-4D17-A34B-532AEE593AD5}"/>
    </a:ext>
  </a:extLst>
</a:theme>
</file>

<file path=ppt/theme/theme5.xml><?xml version="1.0" encoding="utf-8"?>
<a:theme xmlns:a="http://schemas.openxmlformats.org/drawingml/2006/main" name="Deep Ocean">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FFFFFF"/>
      </a:hlink>
      <a:folHlink>
        <a:srgbClr val="7ADFA9"/>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8C5FCC9E-6CA9-469C-B6A6-15A98D011400}"/>
    </a:ext>
  </a:extLst>
</a:theme>
</file>

<file path=ppt/theme/theme6.xml><?xml version="1.0" encoding="utf-8"?>
<a:theme xmlns:a="http://schemas.openxmlformats.org/drawingml/2006/main" name="Forest Green">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FFFFFF"/>
      </a:hlink>
      <a:folHlink>
        <a:srgbClr val="7ADFA9"/>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502AC35D-60FD-4B02-B90C-CF653BFFF265}"/>
    </a:ext>
  </a:extLst>
</a:theme>
</file>

<file path=ppt/theme/theme7.xml><?xml version="1.0" encoding="utf-8"?>
<a:theme xmlns:a="http://schemas.openxmlformats.org/drawingml/2006/main" name="Emerald">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FFFFFF"/>
      </a:hlink>
      <a:folHlink>
        <a:srgbClr val="7ADFA9"/>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3FE574DE-6C81-4415-8B19-9F4081FA5956}"/>
    </a:ext>
  </a:extLst>
</a:theme>
</file>

<file path=ppt/theme/theme8.xml><?xml version="1.0" encoding="utf-8"?>
<a:theme xmlns:a="http://schemas.openxmlformats.org/drawingml/2006/main" name="white footer">
  <a:themeElements>
    <a:clrScheme name="Custom 14">
      <a:dk1>
        <a:srgbClr val="000000"/>
      </a:dk1>
      <a:lt1>
        <a:srgbClr val="FFFFFF"/>
      </a:lt1>
      <a:dk2>
        <a:srgbClr val="2F6F79"/>
      </a:dk2>
      <a:lt2>
        <a:srgbClr val="E7E6E6"/>
      </a:lt2>
      <a:accent1>
        <a:srgbClr val="4797A8"/>
      </a:accent1>
      <a:accent2>
        <a:srgbClr val="5CB646"/>
      </a:accent2>
      <a:accent3>
        <a:srgbClr val="75D5D3"/>
      </a:accent3>
      <a:accent4>
        <a:srgbClr val="DA6018"/>
      </a:accent4>
      <a:accent5>
        <a:srgbClr val="716E69"/>
      </a:accent5>
      <a:accent6>
        <a:srgbClr val="003B6F"/>
      </a:accent6>
      <a:hlink>
        <a:srgbClr val="0563C1"/>
      </a:hlink>
      <a:folHlink>
        <a:srgbClr val="954F72"/>
      </a:folHlink>
    </a:clrScheme>
    <a:fontScheme name="Poppins">
      <a:majorFont>
        <a:latin typeface="Poppins Extra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Deep Ocean">
  <a:themeElements>
    <a:clrScheme name="New_TRP_Branding_DarkBG">
      <a:dk1>
        <a:srgbClr val="000000"/>
      </a:dk1>
      <a:lt1>
        <a:srgbClr val="FFFFFF"/>
      </a:lt1>
      <a:dk2>
        <a:srgbClr val="244C5A"/>
      </a:dk2>
      <a:lt2>
        <a:srgbClr val="FAFAFA"/>
      </a:lt2>
      <a:accent1>
        <a:srgbClr val="00A887"/>
      </a:accent1>
      <a:accent2>
        <a:srgbClr val="7ADFA9"/>
      </a:accent2>
      <a:accent3>
        <a:srgbClr val="006E63"/>
      </a:accent3>
      <a:accent4>
        <a:srgbClr val="EE7020"/>
      </a:accent4>
      <a:accent5>
        <a:srgbClr val="FFC72A"/>
      </a:accent5>
      <a:accent6>
        <a:srgbClr val="CCE981"/>
      </a:accent6>
      <a:hlink>
        <a:srgbClr val="FFFFFF"/>
      </a:hlink>
      <a:folHlink>
        <a:srgbClr val="7ADFA9"/>
      </a:folHlink>
    </a:clrScheme>
    <a:fontScheme name="Standard TRP Fonts">
      <a:majorFont>
        <a:latin typeface="Robot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mTemplate_March2023.potx" id="{A2D33D81-FB78-4609-800C-8275B2135504}" vid="{8C5FCC9E-6CA9-469C-B6A6-15A98D01140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d766ad9-6eed-4dbd-ba42-9a663604a3bc">
      <UserInfo>
        <DisplayName>Mari Long</DisplayName>
        <AccountId>87</AccountId>
        <AccountType/>
      </UserInfo>
      <UserInfo>
        <DisplayName>Asami Tanimoto</DisplayName>
        <AccountId>72</AccountId>
        <AccountType/>
      </UserInfo>
      <UserInfo>
        <DisplayName>SharingLinks.8fbecd46-d114-4c87-ac93-9e0908a33dfe.OrganizationEdit.1630b429-0e29-4b5b-9fe3-460a3858a047</DisplayName>
        <AccountId>111</AccountId>
        <AccountType/>
      </UserInfo>
      <UserInfo>
        <DisplayName>Lindsay Carbonell</DisplayName>
        <AccountId>15</AccountId>
        <AccountType/>
      </UserInfo>
      <UserInfo>
        <DisplayName>SharingLinks.261ced32-a219-4eda-ac14-be50548efd68.OrganizationEdit.5bec75b8-bf5c-4364-a3cc-1dd2b2001bf6</DisplayName>
        <AccountId>118</AccountId>
        <AccountType/>
      </UserInfo>
      <UserInfo>
        <DisplayName>SharingLinks.caeedc39-52a7-4077-b728-56d5bd0fc3ce.OrganizationEdit.9e8956ba-b06d-4135-92bd-9309724d742b</DisplayName>
        <AccountId>119</AccountId>
        <AccountType/>
      </UserInfo>
      <UserInfo>
        <DisplayName>Matt James</DisplayName>
        <AccountId>63</AccountId>
        <AccountType/>
      </UserInfo>
    </SharedWithUsers>
    <_activity xmlns="b93c3682-199d-4c7c-83f2-f67e6d72b3e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97C2D9E451767408408B089D1EB12A8" ma:contentTypeVersion="14" ma:contentTypeDescription="Create a new document." ma:contentTypeScope="" ma:versionID="f1ecf4011f2d19a364578d45c3817fbb">
  <xsd:schema xmlns:xsd="http://www.w3.org/2001/XMLSchema" xmlns:xs="http://www.w3.org/2001/XMLSchema" xmlns:p="http://schemas.microsoft.com/office/2006/metadata/properties" xmlns:ns3="ed766ad9-6eed-4dbd-ba42-9a663604a3bc" xmlns:ns4="b93c3682-199d-4c7c-83f2-f67e6d72b3e6" targetNamespace="http://schemas.microsoft.com/office/2006/metadata/properties" ma:root="true" ma:fieldsID="107cef64825f4ebaf2f3132b449491fb" ns3:_="" ns4:_="">
    <xsd:import namespace="ed766ad9-6eed-4dbd-ba42-9a663604a3bc"/>
    <xsd:import namespace="b93c3682-199d-4c7c-83f2-f67e6d72b3e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AutoKeyPoints" minOccurs="0"/>
                <xsd:element ref="ns4:MediaServiceKeyPoints" minOccurs="0"/>
                <xsd:element ref="ns4:MediaServiceGenerationTime" minOccurs="0"/>
                <xsd:element ref="ns4:MediaServiceEventHashCode"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766ad9-6eed-4dbd-ba42-9a663604a3b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3c3682-199d-4c7c-83f2-f67e6d72b3e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E9B25E-2FAA-4254-9B5B-801FD53BAF06}">
  <ds:schemaRefs>
    <ds:schemaRef ds:uri="http://purl.org/dc/dcmitype/"/>
    <ds:schemaRef ds:uri="http://www.w3.org/XML/1998/namespace"/>
    <ds:schemaRef ds:uri="http://schemas.openxmlformats.org/package/2006/metadata/core-properties"/>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b93c3682-199d-4c7c-83f2-f67e6d72b3e6"/>
    <ds:schemaRef ds:uri="ed766ad9-6eed-4dbd-ba42-9a663604a3bc"/>
  </ds:schemaRefs>
</ds:datastoreItem>
</file>

<file path=customXml/itemProps2.xml><?xml version="1.0" encoding="utf-8"?>
<ds:datastoreItem xmlns:ds="http://schemas.openxmlformats.org/officeDocument/2006/customXml" ds:itemID="{2C35CE88-AB8D-42B3-99F2-0365AD3C5582}">
  <ds:schemaRefs>
    <ds:schemaRef ds:uri="http://schemas.microsoft.com/sharepoint/v3/contenttype/forms"/>
  </ds:schemaRefs>
</ds:datastoreItem>
</file>

<file path=customXml/itemProps3.xml><?xml version="1.0" encoding="utf-8"?>
<ds:datastoreItem xmlns:ds="http://schemas.openxmlformats.org/officeDocument/2006/customXml" ds:itemID="{41FC6D2F-49A5-4E6B-B2A9-66A23E3123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766ad9-6eed-4dbd-ba42-9a663604a3bc"/>
    <ds:schemaRef ds:uri="b93c3682-199d-4c7c-83f2-f67e6d72b3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amTemplate_March2023_v2</Template>
  <TotalTime>9779</TotalTime>
  <Words>1569</Words>
  <Application>Microsoft Office PowerPoint</Application>
  <PresentationFormat>Widescreen</PresentationFormat>
  <Paragraphs>191</Paragraphs>
  <Slides>20</Slides>
  <Notes>7</Notes>
  <HiddenSlides>0</HiddenSlides>
  <MMClips>0</MMClips>
  <ScaleCrop>false</ScaleCrop>
  <HeadingPairs>
    <vt:vector size="8" baseType="variant">
      <vt:variant>
        <vt:lpstr>Fonts Used</vt:lpstr>
      </vt:variant>
      <vt:variant>
        <vt:i4>8</vt:i4>
      </vt:variant>
      <vt:variant>
        <vt:lpstr>Theme</vt:lpstr>
      </vt:variant>
      <vt:variant>
        <vt:i4>16</vt:i4>
      </vt:variant>
      <vt:variant>
        <vt:lpstr>Embedded OLE Servers</vt:lpstr>
      </vt:variant>
      <vt:variant>
        <vt:i4>1</vt:i4>
      </vt:variant>
      <vt:variant>
        <vt:lpstr>Slide Titles</vt:lpstr>
      </vt:variant>
      <vt:variant>
        <vt:i4>20</vt:i4>
      </vt:variant>
    </vt:vector>
  </HeadingPairs>
  <TitlesOfParts>
    <vt:vector size="45" baseType="lpstr">
      <vt:lpstr>Arial</vt:lpstr>
      <vt:lpstr>Calibri</vt:lpstr>
      <vt:lpstr>Century Gothic</vt:lpstr>
      <vt:lpstr>Poppins</vt:lpstr>
      <vt:lpstr>Poppins ExtraBold</vt:lpstr>
      <vt:lpstr>Roboto</vt:lpstr>
      <vt:lpstr>Segoe UI</vt:lpstr>
      <vt:lpstr>Source Sans Pro</vt:lpstr>
      <vt:lpstr>Cover</vt:lpstr>
      <vt:lpstr>Divider</vt:lpstr>
      <vt:lpstr>White</vt:lpstr>
      <vt:lpstr>White</vt:lpstr>
      <vt:lpstr>Deep Ocean</vt:lpstr>
      <vt:lpstr>Forest Green</vt:lpstr>
      <vt:lpstr>Emerald</vt:lpstr>
      <vt:lpstr>white footer</vt:lpstr>
      <vt:lpstr>Deep Ocean</vt:lpstr>
      <vt:lpstr>Section</vt:lpstr>
      <vt:lpstr>3_Custom Design</vt:lpstr>
      <vt:lpstr>White</vt:lpstr>
      <vt:lpstr>White</vt:lpstr>
      <vt:lpstr>White</vt:lpstr>
      <vt:lpstr>1_White</vt:lpstr>
      <vt:lpstr>5_White</vt:lpstr>
      <vt:lpstr>think-cell Slide</vt:lpstr>
      <vt:lpstr>Future Focus:  Leveraging data for your suc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y Payne</dc:creator>
  <cp:lastModifiedBy>Gloria Hardegree</cp:lastModifiedBy>
  <cp:revision>9</cp:revision>
  <cp:lastPrinted>2021-02-20T18:18:44Z</cp:lastPrinted>
  <dcterms:created xsi:type="dcterms:W3CDTF">2023-03-14T20:50:42Z</dcterms:created>
  <dcterms:modified xsi:type="dcterms:W3CDTF">2023-10-22T20:3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97C2D9E451767408408B089D1EB12A8</vt:lpwstr>
  </property>
</Properties>
</file>